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26"/>
  </p:notesMasterIdLst>
  <p:sldIdLst>
    <p:sldId id="256" r:id="rId5"/>
    <p:sldId id="257" r:id="rId6"/>
    <p:sldId id="2147483511" r:id="rId7"/>
    <p:sldId id="2147378508" r:id="rId8"/>
    <p:sldId id="2147378509" r:id="rId9"/>
    <p:sldId id="2147483498" r:id="rId10"/>
    <p:sldId id="2147483499" r:id="rId11"/>
    <p:sldId id="2147483507" r:id="rId12"/>
    <p:sldId id="2147483500" r:id="rId13"/>
    <p:sldId id="2147483506" r:id="rId14"/>
    <p:sldId id="2147483502" r:id="rId15"/>
    <p:sldId id="2147483503" r:id="rId16"/>
    <p:sldId id="2147378510" r:id="rId17"/>
    <p:sldId id="2147483505" r:id="rId18"/>
    <p:sldId id="2147483501" r:id="rId19"/>
    <p:sldId id="258" r:id="rId20"/>
    <p:sldId id="2147483508" r:id="rId21"/>
    <p:sldId id="2147483504" r:id="rId22"/>
    <p:sldId id="2147483512" r:id="rId23"/>
    <p:sldId id="2147483513" r:id="rId24"/>
    <p:sldId id="2147378520" r:id="rId25"/>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F2AC044-81DF-F9BA-E302-67EFB71C04CE}" name="Loic Fejoz" initials="LF" userId="S::M301398@ONE.merckgroup.com::a554098a-9d5a-4dd0-94b0-6dc2885fff16"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6569D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1" d="100"/>
          <a:sy n="101" d="100"/>
        </p:scale>
        <p:origin x="954"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oic Fejoz" userId="a554098a-9d5a-4dd0-94b0-6dc2885fff16" providerId="ADAL" clId="{0B336355-34EF-46CF-B2C3-BCCED417339D}"/>
    <pc:docChg chg="undo custSel modSld">
      <pc:chgData name="Loic Fejoz" userId="a554098a-9d5a-4dd0-94b0-6dc2885fff16" providerId="ADAL" clId="{0B336355-34EF-46CF-B2C3-BCCED417339D}" dt="2025-03-27T21:48:53.515" v="52" actId="20577"/>
      <pc:docMkLst>
        <pc:docMk/>
      </pc:docMkLst>
      <pc:sldChg chg="modSp mod">
        <pc:chgData name="Loic Fejoz" userId="a554098a-9d5a-4dd0-94b0-6dc2885fff16" providerId="ADAL" clId="{0B336355-34EF-46CF-B2C3-BCCED417339D}" dt="2025-03-25T14:56:25.584" v="12" actId="20577"/>
        <pc:sldMkLst>
          <pc:docMk/>
          <pc:sldMk cId="4148576040" sldId="2147378519"/>
        </pc:sldMkLst>
        <pc:spChg chg="mod">
          <ac:chgData name="Loic Fejoz" userId="a554098a-9d5a-4dd0-94b0-6dc2885fff16" providerId="ADAL" clId="{0B336355-34EF-46CF-B2C3-BCCED417339D}" dt="2025-03-25T14:56:25.584" v="12" actId="20577"/>
          <ac:spMkLst>
            <pc:docMk/>
            <pc:sldMk cId="4148576040" sldId="2147378519"/>
            <ac:spMk id="8" creationId="{00000000-0000-0000-0000-000000000000}"/>
          </ac:spMkLst>
        </pc:spChg>
      </pc:sldChg>
      <pc:sldChg chg="modSp mod">
        <pc:chgData name="Loic Fejoz" userId="a554098a-9d5a-4dd0-94b0-6dc2885fff16" providerId="ADAL" clId="{0B336355-34EF-46CF-B2C3-BCCED417339D}" dt="2025-03-27T21:48:32.079" v="42" actId="6549"/>
        <pc:sldMkLst>
          <pc:docMk/>
          <pc:sldMk cId="3593221261" sldId="2147483500"/>
        </pc:sldMkLst>
        <pc:spChg chg="mod">
          <ac:chgData name="Loic Fejoz" userId="a554098a-9d5a-4dd0-94b0-6dc2885fff16" providerId="ADAL" clId="{0B336355-34EF-46CF-B2C3-BCCED417339D}" dt="2025-03-27T21:48:32.079" v="42" actId="6549"/>
          <ac:spMkLst>
            <pc:docMk/>
            <pc:sldMk cId="3593221261" sldId="2147483500"/>
            <ac:spMk id="2" creationId="{A8E88944-382E-C9EF-781F-8F2302F5FA03}"/>
          </ac:spMkLst>
        </pc:spChg>
      </pc:sldChg>
      <pc:sldChg chg="modSp mod">
        <pc:chgData name="Loic Fejoz" userId="a554098a-9d5a-4dd0-94b0-6dc2885fff16" providerId="ADAL" clId="{0B336355-34EF-46CF-B2C3-BCCED417339D}" dt="2025-03-27T21:48:53.515" v="52" actId="20577"/>
        <pc:sldMkLst>
          <pc:docMk/>
          <pc:sldMk cId="787996660" sldId="2147483506"/>
        </pc:sldMkLst>
        <pc:spChg chg="mod">
          <ac:chgData name="Loic Fejoz" userId="a554098a-9d5a-4dd0-94b0-6dc2885fff16" providerId="ADAL" clId="{0B336355-34EF-46CF-B2C3-BCCED417339D}" dt="2025-03-27T21:48:53.515" v="52" actId="20577"/>
          <ac:spMkLst>
            <pc:docMk/>
            <pc:sldMk cId="787996660" sldId="2147483506"/>
            <ac:spMk id="2" creationId="{A8E88944-382E-C9EF-781F-8F2302F5FA03}"/>
          </ac:spMkLst>
        </pc:spChg>
      </pc:sldChg>
      <pc:sldChg chg="modSp mod">
        <pc:chgData name="Loic Fejoz" userId="a554098a-9d5a-4dd0-94b0-6dc2885fff16" providerId="ADAL" clId="{0B336355-34EF-46CF-B2C3-BCCED417339D}" dt="2025-03-27T21:47:56.560" v="28" actId="20577"/>
        <pc:sldMkLst>
          <pc:docMk/>
          <pc:sldMk cId="4246700711" sldId="2147483507"/>
        </pc:sldMkLst>
        <pc:spChg chg="mod">
          <ac:chgData name="Loic Fejoz" userId="a554098a-9d5a-4dd0-94b0-6dc2885fff16" providerId="ADAL" clId="{0B336355-34EF-46CF-B2C3-BCCED417339D}" dt="2025-03-27T21:47:56.560" v="28" actId="20577"/>
          <ac:spMkLst>
            <pc:docMk/>
            <pc:sldMk cId="4246700711" sldId="2147483507"/>
            <ac:spMk id="2" creationId="{A8E88944-382E-C9EF-781F-8F2302F5FA03}"/>
          </ac:spMkLst>
        </pc:spChg>
      </pc:sldChg>
    </pc:docChg>
  </pc:docChgLst>
  <pc:docChgLst>
    <pc:chgData name="Julien Koerber" userId="816e704f-9f28-481a-98cb-78078794ec7b" providerId="ADAL" clId="{67384873-A532-462E-9867-AD6E6DA1C56B}"/>
    <pc:docChg chg="undo custSel addSld delSld modSld sldOrd">
      <pc:chgData name="Julien Koerber" userId="816e704f-9f28-481a-98cb-78078794ec7b" providerId="ADAL" clId="{67384873-A532-462E-9867-AD6E6DA1C56B}" dt="2025-03-27T15:19:38.080" v="4696" actId="20577"/>
      <pc:docMkLst>
        <pc:docMk/>
      </pc:docMkLst>
      <pc:sldChg chg="modSp mod">
        <pc:chgData name="Julien Koerber" userId="816e704f-9f28-481a-98cb-78078794ec7b" providerId="ADAL" clId="{67384873-A532-462E-9867-AD6E6DA1C56B}" dt="2025-03-25T12:19:51.832" v="2301" actId="404"/>
        <pc:sldMkLst>
          <pc:docMk/>
          <pc:sldMk cId="3784089036" sldId="256"/>
        </pc:sldMkLst>
        <pc:spChg chg="mod">
          <ac:chgData name="Julien Koerber" userId="816e704f-9f28-481a-98cb-78078794ec7b" providerId="ADAL" clId="{67384873-A532-462E-9867-AD6E6DA1C56B}" dt="2025-03-25T12:19:51.832" v="2301" actId="404"/>
          <ac:spMkLst>
            <pc:docMk/>
            <pc:sldMk cId="3784089036" sldId="256"/>
            <ac:spMk id="7" creationId="{12A72D36-D736-71C8-7B71-990A48D6C26A}"/>
          </ac:spMkLst>
        </pc:spChg>
        <pc:spChg chg="mod">
          <ac:chgData name="Julien Koerber" userId="816e704f-9f28-481a-98cb-78078794ec7b" providerId="ADAL" clId="{67384873-A532-462E-9867-AD6E6DA1C56B}" dt="2025-03-21T14:13:09.842" v="119" actId="21"/>
          <ac:spMkLst>
            <pc:docMk/>
            <pc:sldMk cId="3784089036" sldId="256"/>
            <ac:spMk id="8" creationId="{03AA6220-A530-30BC-5A94-77EC74562E53}"/>
          </ac:spMkLst>
        </pc:spChg>
        <pc:spChg chg="mod">
          <ac:chgData name="Julien Koerber" userId="816e704f-9f28-481a-98cb-78078794ec7b" providerId="ADAL" clId="{67384873-A532-462E-9867-AD6E6DA1C56B}" dt="2025-03-21T14:09:41.708" v="97" actId="20577"/>
          <ac:spMkLst>
            <pc:docMk/>
            <pc:sldMk cId="3784089036" sldId="256"/>
            <ac:spMk id="9" creationId="{3866FA04-9816-02D4-C537-B9D35DD95895}"/>
          </ac:spMkLst>
        </pc:spChg>
      </pc:sldChg>
      <pc:sldChg chg="modSp mod">
        <pc:chgData name="Julien Koerber" userId="816e704f-9f28-481a-98cb-78078794ec7b" providerId="ADAL" clId="{67384873-A532-462E-9867-AD6E6DA1C56B}" dt="2025-03-27T10:16:22.218" v="4306" actId="1076"/>
        <pc:sldMkLst>
          <pc:docMk/>
          <pc:sldMk cId="1844248445" sldId="257"/>
        </pc:sldMkLst>
        <pc:spChg chg="mod">
          <ac:chgData name="Julien Koerber" userId="816e704f-9f28-481a-98cb-78078794ec7b" providerId="ADAL" clId="{67384873-A532-462E-9867-AD6E6DA1C56B}" dt="2025-03-27T10:16:22.218" v="4306" actId="1076"/>
          <ac:spMkLst>
            <pc:docMk/>
            <pc:sldMk cId="1844248445" sldId="257"/>
            <ac:spMk id="8" creationId="{FF0F8BD7-7609-2AC6-D79A-1B0DB4C00173}"/>
          </ac:spMkLst>
        </pc:spChg>
        <pc:spChg chg="mod">
          <ac:chgData name="Julien Koerber" userId="816e704f-9f28-481a-98cb-78078794ec7b" providerId="ADAL" clId="{67384873-A532-462E-9867-AD6E6DA1C56B}" dt="2025-03-25T11:58:08.833" v="1611" actId="20577"/>
          <ac:spMkLst>
            <pc:docMk/>
            <pc:sldMk cId="1844248445" sldId="257"/>
            <ac:spMk id="11" creationId="{3067760D-F397-F6CE-3D2C-D6C47E4A92CB}"/>
          </ac:spMkLst>
        </pc:spChg>
      </pc:sldChg>
      <pc:sldChg chg="addSp delSp modSp mod ord">
        <pc:chgData name="Julien Koerber" userId="816e704f-9f28-481a-98cb-78078794ec7b" providerId="ADAL" clId="{67384873-A532-462E-9867-AD6E6DA1C56B}" dt="2025-03-25T14:27:06.525" v="3496" actId="20577"/>
        <pc:sldMkLst>
          <pc:docMk/>
          <pc:sldMk cId="645633506" sldId="258"/>
        </pc:sldMkLst>
        <pc:spChg chg="del">
          <ac:chgData name="Julien Koerber" userId="816e704f-9f28-481a-98cb-78078794ec7b" providerId="ADAL" clId="{67384873-A532-462E-9867-AD6E6DA1C56B}" dt="2025-03-24T09:40:21.770" v="316" actId="478"/>
          <ac:spMkLst>
            <pc:docMk/>
            <pc:sldMk cId="645633506" sldId="258"/>
            <ac:spMk id="2" creationId="{0A1B4244-A3CD-98E7-F251-1C44DA3EEFD1}"/>
          </ac:spMkLst>
        </pc:spChg>
        <pc:spChg chg="mod">
          <ac:chgData name="Julien Koerber" userId="816e704f-9f28-481a-98cb-78078794ec7b" providerId="ADAL" clId="{67384873-A532-462E-9867-AD6E6DA1C56B}" dt="2025-03-25T14:27:06.525" v="3496" actId="20577"/>
          <ac:spMkLst>
            <pc:docMk/>
            <pc:sldMk cId="645633506" sldId="258"/>
            <ac:spMk id="4" creationId="{1D299F93-F177-8703-7C5A-667E30618BA7}"/>
          </ac:spMkLst>
        </pc:spChg>
        <pc:spChg chg="mod">
          <ac:chgData name="Julien Koerber" userId="816e704f-9f28-481a-98cb-78078794ec7b" providerId="ADAL" clId="{67384873-A532-462E-9867-AD6E6DA1C56B}" dt="2025-03-25T14:26:09.444" v="3480" actId="313"/>
          <ac:spMkLst>
            <pc:docMk/>
            <pc:sldMk cId="645633506" sldId="258"/>
            <ac:spMk id="5" creationId="{31778FF3-693E-51A9-2D9F-1F47B7A22525}"/>
          </ac:spMkLst>
        </pc:spChg>
        <pc:spChg chg="add del mod">
          <ac:chgData name="Julien Koerber" userId="816e704f-9f28-481a-98cb-78078794ec7b" providerId="ADAL" clId="{67384873-A532-462E-9867-AD6E6DA1C56B}" dt="2025-03-25T10:28:57.245" v="1503" actId="478"/>
          <ac:spMkLst>
            <pc:docMk/>
            <pc:sldMk cId="645633506" sldId="258"/>
            <ac:spMk id="18" creationId="{52BD3B4D-0B42-5348-92C6-45E7C01AB6F4}"/>
          </ac:spMkLst>
        </pc:spChg>
        <pc:spChg chg="add del mod">
          <ac:chgData name="Julien Koerber" userId="816e704f-9f28-481a-98cb-78078794ec7b" providerId="ADAL" clId="{67384873-A532-462E-9867-AD6E6DA1C56B}" dt="2025-03-25T14:21:30.380" v="3396" actId="478"/>
          <ac:spMkLst>
            <pc:docMk/>
            <pc:sldMk cId="645633506" sldId="258"/>
            <ac:spMk id="20" creationId="{0B4AD614-F81C-F9AD-E36F-EBCCE0DE5831}"/>
          </ac:spMkLst>
        </pc:spChg>
        <pc:spChg chg="add mod">
          <ac:chgData name="Julien Koerber" userId="816e704f-9f28-481a-98cb-78078794ec7b" providerId="ADAL" clId="{67384873-A532-462E-9867-AD6E6DA1C56B}" dt="2025-03-25T14:23:57.331" v="3448" actId="1076"/>
          <ac:spMkLst>
            <pc:docMk/>
            <pc:sldMk cId="645633506" sldId="258"/>
            <ac:spMk id="25" creationId="{4CD71C37-8684-CB80-7C49-052331BD9CA5}"/>
          </ac:spMkLst>
        </pc:spChg>
        <pc:spChg chg="add mod">
          <ac:chgData name="Julien Koerber" userId="816e704f-9f28-481a-98cb-78078794ec7b" providerId="ADAL" clId="{67384873-A532-462E-9867-AD6E6DA1C56B}" dt="2025-03-25T14:23:09.350" v="3431"/>
          <ac:spMkLst>
            <pc:docMk/>
            <pc:sldMk cId="645633506" sldId="258"/>
            <ac:spMk id="26" creationId="{18DE57F3-A4A5-BD90-A478-8FB388751CF7}"/>
          </ac:spMkLst>
        </pc:spChg>
        <pc:spChg chg="add mod">
          <ac:chgData name="Julien Koerber" userId="816e704f-9f28-481a-98cb-78078794ec7b" providerId="ADAL" clId="{67384873-A532-462E-9867-AD6E6DA1C56B}" dt="2025-03-25T14:23:21.534" v="3445" actId="20577"/>
          <ac:spMkLst>
            <pc:docMk/>
            <pc:sldMk cId="645633506" sldId="258"/>
            <ac:spMk id="27" creationId="{A3DF95B0-EE9F-5134-4853-F39220E24D4A}"/>
          </ac:spMkLst>
        </pc:spChg>
        <pc:picChg chg="add del">
          <ac:chgData name="Julien Koerber" userId="816e704f-9f28-481a-98cb-78078794ec7b" providerId="ADAL" clId="{67384873-A532-462E-9867-AD6E6DA1C56B}" dt="2025-03-24T09:40:06.475" v="310" actId="22"/>
          <ac:picMkLst>
            <pc:docMk/>
            <pc:sldMk cId="645633506" sldId="258"/>
            <ac:picMk id="6" creationId="{2BCE60D1-1777-137E-FE16-DDB14CD4868A}"/>
          </ac:picMkLst>
        </pc:picChg>
        <pc:picChg chg="del">
          <ac:chgData name="Julien Koerber" userId="816e704f-9f28-481a-98cb-78078794ec7b" providerId="ADAL" clId="{67384873-A532-462E-9867-AD6E6DA1C56B}" dt="2025-03-24T09:40:04.275" v="308" actId="478"/>
          <ac:picMkLst>
            <pc:docMk/>
            <pc:sldMk cId="645633506" sldId="258"/>
            <ac:picMk id="8" creationId="{77B9F620-7E2D-65F3-B43B-700C8B8CD23F}"/>
          </ac:picMkLst>
        </pc:picChg>
        <pc:picChg chg="add del mod">
          <ac:chgData name="Julien Koerber" userId="816e704f-9f28-481a-98cb-78078794ec7b" providerId="ADAL" clId="{67384873-A532-462E-9867-AD6E6DA1C56B}" dt="2025-03-24T12:32:48.597" v="628" actId="478"/>
          <ac:picMkLst>
            <pc:docMk/>
            <pc:sldMk cId="645633506" sldId="258"/>
            <ac:picMk id="9" creationId="{00A78756-438C-3355-492E-05DE9B8A8B61}"/>
          </ac:picMkLst>
        </pc:picChg>
        <pc:picChg chg="add del mod">
          <ac:chgData name="Julien Koerber" userId="816e704f-9f28-481a-98cb-78078794ec7b" providerId="ADAL" clId="{67384873-A532-462E-9867-AD6E6DA1C56B}" dt="2025-03-25T10:21:12.433" v="1372" actId="478"/>
          <ac:picMkLst>
            <pc:docMk/>
            <pc:sldMk cId="645633506" sldId="258"/>
            <ac:picMk id="11" creationId="{50690E02-E59B-3D5C-4DE7-66AA42789563}"/>
          </ac:picMkLst>
        </pc:picChg>
        <pc:picChg chg="add del mod">
          <ac:chgData name="Julien Koerber" userId="816e704f-9f28-481a-98cb-78078794ec7b" providerId="ADAL" clId="{67384873-A532-462E-9867-AD6E6DA1C56B}" dt="2025-03-25T14:21:28.002" v="3394" actId="478"/>
          <ac:picMkLst>
            <pc:docMk/>
            <pc:sldMk cId="645633506" sldId="258"/>
            <ac:picMk id="13" creationId="{67D4AABD-4362-1B85-92E3-E590ED15630D}"/>
          </ac:picMkLst>
        </pc:picChg>
        <pc:picChg chg="add del mod">
          <ac:chgData name="Julien Koerber" userId="816e704f-9f28-481a-98cb-78078794ec7b" providerId="ADAL" clId="{67384873-A532-462E-9867-AD6E6DA1C56B}" dt="2025-03-25T10:22:45.481" v="1454" actId="478"/>
          <ac:picMkLst>
            <pc:docMk/>
            <pc:sldMk cId="645633506" sldId="258"/>
            <ac:picMk id="15" creationId="{48C490A0-7F2F-F1C4-17A9-13C6DA274032}"/>
          </ac:picMkLst>
        </pc:picChg>
        <pc:picChg chg="add del mod">
          <ac:chgData name="Julien Koerber" userId="816e704f-9f28-481a-98cb-78078794ec7b" providerId="ADAL" clId="{67384873-A532-462E-9867-AD6E6DA1C56B}" dt="2025-03-25T14:21:28.853" v="3395" actId="478"/>
          <ac:picMkLst>
            <pc:docMk/>
            <pc:sldMk cId="645633506" sldId="258"/>
            <ac:picMk id="17" creationId="{26A58243-15DD-950F-D42C-3B7D127EB6B0}"/>
          </ac:picMkLst>
        </pc:picChg>
        <pc:picChg chg="add mod">
          <ac:chgData name="Julien Koerber" userId="816e704f-9f28-481a-98cb-78078794ec7b" providerId="ADAL" clId="{67384873-A532-462E-9867-AD6E6DA1C56B}" dt="2025-03-25T14:22:55.828" v="3428" actId="1076"/>
          <ac:picMkLst>
            <pc:docMk/>
            <pc:sldMk cId="645633506" sldId="258"/>
            <ac:picMk id="22" creationId="{7F501E35-15D2-F641-9087-577702A54F8A}"/>
          </ac:picMkLst>
        </pc:picChg>
        <pc:picChg chg="add del">
          <ac:chgData name="Julien Koerber" userId="816e704f-9f28-481a-98cb-78078794ec7b" providerId="ADAL" clId="{67384873-A532-462E-9867-AD6E6DA1C56B}" dt="2025-03-25T14:22:12.116" v="3404" actId="478"/>
          <ac:picMkLst>
            <pc:docMk/>
            <pc:sldMk cId="645633506" sldId="258"/>
            <ac:picMk id="24" creationId="{685AC847-735E-01D9-5684-DAFDC9B2D4E9}"/>
          </ac:picMkLst>
        </pc:picChg>
        <pc:picChg chg="add mod">
          <ac:chgData name="Julien Koerber" userId="816e704f-9f28-481a-98cb-78078794ec7b" providerId="ADAL" clId="{67384873-A532-462E-9867-AD6E6DA1C56B}" dt="2025-03-25T14:23:52.234" v="3447" actId="1076"/>
          <ac:picMkLst>
            <pc:docMk/>
            <pc:sldMk cId="645633506" sldId="258"/>
            <ac:picMk id="29" creationId="{C81DBEE8-CBEE-3D7D-7885-E7E7DCCA0DF3}"/>
          </ac:picMkLst>
        </pc:picChg>
      </pc:sldChg>
      <pc:sldChg chg="delSp modSp mod ord">
        <pc:chgData name="Julien Koerber" userId="816e704f-9f28-481a-98cb-78078794ec7b" providerId="ADAL" clId="{67384873-A532-462E-9867-AD6E6DA1C56B}" dt="2025-03-25T08:35:44.120" v="1006" actId="1076"/>
        <pc:sldMkLst>
          <pc:docMk/>
          <pc:sldMk cId="2073837498" sldId="2147378508"/>
        </pc:sldMkLst>
        <pc:spChg chg="mod">
          <ac:chgData name="Julien Koerber" userId="816e704f-9f28-481a-98cb-78078794ec7b" providerId="ADAL" clId="{67384873-A532-462E-9867-AD6E6DA1C56B}" dt="2025-03-25T08:35:44.120" v="1006" actId="1076"/>
          <ac:spMkLst>
            <pc:docMk/>
            <pc:sldMk cId="2073837498" sldId="2147378508"/>
            <ac:spMk id="4" creationId="{25C61498-6CE3-62D2-8EC0-65D5C8FF3EB3}"/>
          </ac:spMkLst>
        </pc:spChg>
        <pc:spChg chg="mod">
          <ac:chgData name="Julien Koerber" userId="816e704f-9f28-481a-98cb-78078794ec7b" providerId="ADAL" clId="{67384873-A532-462E-9867-AD6E6DA1C56B}" dt="2025-03-24T09:18:44.627" v="133" actId="207"/>
          <ac:spMkLst>
            <pc:docMk/>
            <pc:sldMk cId="2073837498" sldId="2147378508"/>
            <ac:spMk id="14" creationId="{4E0F47AA-0DC4-4C1C-8590-6BB88B356ECD}"/>
          </ac:spMkLst>
        </pc:spChg>
        <pc:spChg chg="mod">
          <ac:chgData name="Julien Koerber" userId="816e704f-9f28-481a-98cb-78078794ec7b" providerId="ADAL" clId="{67384873-A532-462E-9867-AD6E6DA1C56B}" dt="2025-03-24T09:18:56.457" v="135" actId="207"/>
          <ac:spMkLst>
            <pc:docMk/>
            <pc:sldMk cId="2073837498" sldId="2147378508"/>
            <ac:spMk id="18" creationId="{2DE6297A-DF17-49F2-BF59-0AD473D1352C}"/>
          </ac:spMkLst>
        </pc:spChg>
        <pc:spChg chg="mod">
          <ac:chgData name="Julien Koerber" userId="816e704f-9f28-481a-98cb-78078794ec7b" providerId="ADAL" clId="{67384873-A532-462E-9867-AD6E6DA1C56B}" dt="2025-03-24T12:27:46.619" v="592" actId="1076"/>
          <ac:spMkLst>
            <pc:docMk/>
            <pc:sldMk cId="2073837498" sldId="2147378508"/>
            <ac:spMk id="22" creationId="{97D8D0B3-5469-439E-9FB7-C238930763BB}"/>
          </ac:spMkLst>
        </pc:spChg>
        <pc:spChg chg="mod">
          <ac:chgData name="Julien Koerber" userId="816e704f-9f28-481a-98cb-78078794ec7b" providerId="ADAL" clId="{67384873-A532-462E-9867-AD6E6DA1C56B}" dt="2025-03-24T09:19:20.067" v="138" actId="207"/>
          <ac:spMkLst>
            <pc:docMk/>
            <pc:sldMk cId="2073837498" sldId="2147378508"/>
            <ac:spMk id="26" creationId="{4F62B4A9-5A83-4DA3-9BBA-2348507D6FF5}"/>
          </ac:spMkLst>
        </pc:spChg>
        <pc:spChg chg="mod">
          <ac:chgData name="Julien Koerber" userId="816e704f-9f28-481a-98cb-78078794ec7b" providerId="ADAL" clId="{67384873-A532-462E-9867-AD6E6DA1C56B}" dt="2025-03-24T09:19:29.171" v="140" actId="207"/>
          <ac:spMkLst>
            <pc:docMk/>
            <pc:sldMk cId="2073837498" sldId="2147378508"/>
            <ac:spMk id="34" creationId="{2E47EB4A-D7ED-4B17-B91B-8234E92E4593}"/>
          </ac:spMkLst>
        </pc:spChg>
        <pc:spChg chg="mod">
          <ac:chgData name="Julien Koerber" userId="816e704f-9f28-481a-98cb-78078794ec7b" providerId="ADAL" clId="{67384873-A532-462E-9867-AD6E6DA1C56B}" dt="2025-03-24T09:19:25.510" v="139" actId="207"/>
          <ac:spMkLst>
            <pc:docMk/>
            <pc:sldMk cId="2073837498" sldId="2147378508"/>
            <ac:spMk id="38" creationId="{A06ACFBB-E6F5-4BA7-80FB-1FA39D9F0389}"/>
          </ac:spMkLst>
        </pc:spChg>
        <pc:spChg chg="mod">
          <ac:chgData name="Julien Koerber" userId="816e704f-9f28-481a-98cb-78078794ec7b" providerId="ADAL" clId="{67384873-A532-462E-9867-AD6E6DA1C56B}" dt="2025-03-24T09:19:01.676" v="136" actId="207"/>
          <ac:spMkLst>
            <pc:docMk/>
            <pc:sldMk cId="2073837498" sldId="2147378508"/>
            <ac:spMk id="50" creationId="{5650B8A0-1C49-42E0-8F94-9755D2B92766}"/>
          </ac:spMkLst>
        </pc:spChg>
        <pc:spChg chg="mod">
          <ac:chgData name="Julien Koerber" userId="816e704f-9f28-481a-98cb-78078794ec7b" providerId="ADAL" clId="{67384873-A532-462E-9867-AD6E6DA1C56B}" dt="2025-03-24T12:53:16.936" v="673" actId="207"/>
          <ac:spMkLst>
            <pc:docMk/>
            <pc:sldMk cId="2073837498" sldId="2147378508"/>
            <ac:spMk id="54" creationId="{2C1DCEAA-AE08-4698-AC13-7DBD8960AEB8}"/>
          </ac:spMkLst>
        </pc:spChg>
        <pc:spChg chg="mod">
          <ac:chgData name="Julien Koerber" userId="816e704f-9f28-481a-98cb-78078794ec7b" providerId="ADAL" clId="{67384873-A532-462E-9867-AD6E6DA1C56B}" dt="2025-03-24T13:20:38.482" v="675" actId="207"/>
          <ac:spMkLst>
            <pc:docMk/>
            <pc:sldMk cId="2073837498" sldId="2147378508"/>
            <ac:spMk id="58" creationId="{DF4CF6D3-6EF5-4129-970C-811D90AA03EF}"/>
          </ac:spMkLst>
        </pc:spChg>
        <pc:spChg chg="mod">
          <ac:chgData name="Julien Koerber" userId="816e704f-9f28-481a-98cb-78078794ec7b" providerId="ADAL" clId="{67384873-A532-462E-9867-AD6E6DA1C56B}" dt="2025-03-24T09:18:50.208" v="134" actId="207"/>
          <ac:spMkLst>
            <pc:docMk/>
            <pc:sldMk cId="2073837498" sldId="2147378508"/>
            <ac:spMk id="75" creationId="{ADBF26FA-79D8-4A86-855C-7C9AB4901B9B}"/>
          </ac:spMkLst>
        </pc:spChg>
        <pc:spChg chg="mod">
          <ac:chgData name="Julien Koerber" userId="816e704f-9f28-481a-98cb-78078794ec7b" providerId="ADAL" clId="{67384873-A532-462E-9867-AD6E6DA1C56B}" dt="2025-03-24T12:53:21.921" v="674" actId="207"/>
          <ac:spMkLst>
            <pc:docMk/>
            <pc:sldMk cId="2073837498" sldId="2147378508"/>
            <ac:spMk id="77" creationId="{23DFC06F-56D9-4E92-9C6D-2A8174617C71}"/>
          </ac:spMkLst>
        </pc:spChg>
        <pc:spChg chg="del">
          <ac:chgData name="Julien Koerber" userId="816e704f-9f28-481a-98cb-78078794ec7b" providerId="ADAL" clId="{67384873-A532-462E-9867-AD6E6DA1C56B}" dt="2025-03-24T10:19:13.988" v="590" actId="478"/>
          <ac:spMkLst>
            <pc:docMk/>
            <pc:sldMk cId="2073837498" sldId="2147378508"/>
            <ac:spMk id="123" creationId="{B0F87357-0A77-B430-064A-C18F56F0A00C}"/>
          </ac:spMkLst>
        </pc:spChg>
        <pc:spChg chg="mod">
          <ac:chgData name="Julien Koerber" userId="816e704f-9f28-481a-98cb-78078794ec7b" providerId="ADAL" clId="{67384873-A532-462E-9867-AD6E6DA1C56B}" dt="2025-03-24T09:18:29.116" v="132" actId="207"/>
          <ac:spMkLst>
            <pc:docMk/>
            <pc:sldMk cId="2073837498" sldId="2147378508"/>
            <ac:spMk id="124" creationId="{80601311-AF2E-6070-BB85-4C5BC97F75DC}"/>
          </ac:spMkLst>
        </pc:spChg>
        <pc:spChg chg="mod">
          <ac:chgData name="Julien Koerber" userId="816e704f-9f28-481a-98cb-78078794ec7b" providerId="ADAL" clId="{67384873-A532-462E-9867-AD6E6DA1C56B}" dt="2025-03-24T09:19:12.331" v="137" actId="207"/>
          <ac:spMkLst>
            <pc:docMk/>
            <pc:sldMk cId="2073837498" sldId="2147378508"/>
            <ac:spMk id="126" creationId="{75674010-A2F8-68D3-6BB3-7C0AFAE2C0EF}"/>
          </ac:spMkLst>
        </pc:spChg>
      </pc:sldChg>
      <pc:sldChg chg="addSp modSp add del mod ord">
        <pc:chgData name="Julien Koerber" userId="816e704f-9f28-481a-98cb-78078794ec7b" providerId="ADAL" clId="{67384873-A532-462E-9867-AD6E6DA1C56B}" dt="2025-03-27T08:57:32.224" v="4286" actId="1076"/>
        <pc:sldMkLst>
          <pc:docMk/>
          <pc:sldMk cId="694483714" sldId="2147378509"/>
        </pc:sldMkLst>
        <pc:spChg chg="mod">
          <ac:chgData name="Julien Koerber" userId="816e704f-9f28-481a-98cb-78078794ec7b" providerId="ADAL" clId="{67384873-A532-462E-9867-AD6E6DA1C56B}" dt="2025-03-27T08:57:32.224" v="4286" actId="1076"/>
          <ac:spMkLst>
            <pc:docMk/>
            <pc:sldMk cId="694483714" sldId="2147378509"/>
            <ac:spMk id="19" creationId="{00000000-0000-0000-0000-000000000000}"/>
          </ac:spMkLst>
        </pc:spChg>
        <pc:spChg chg="mod">
          <ac:chgData name="Julien Koerber" userId="816e704f-9f28-481a-98cb-78078794ec7b" providerId="ADAL" clId="{67384873-A532-462E-9867-AD6E6DA1C56B}" dt="2025-03-27T08:57:32.224" v="4286" actId="1076"/>
          <ac:spMkLst>
            <pc:docMk/>
            <pc:sldMk cId="694483714" sldId="2147378509"/>
            <ac:spMk id="20" creationId="{00000000-0000-0000-0000-000000000000}"/>
          </ac:spMkLst>
        </pc:spChg>
        <pc:spChg chg="mod">
          <ac:chgData name="Julien Koerber" userId="816e704f-9f28-481a-98cb-78078794ec7b" providerId="ADAL" clId="{67384873-A532-462E-9867-AD6E6DA1C56B}" dt="2025-03-27T08:57:32.224" v="4286" actId="1076"/>
          <ac:spMkLst>
            <pc:docMk/>
            <pc:sldMk cId="694483714" sldId="2147378509"/>
            <ac:spMk id="21" creationId="{00000000-0000-0000-0000-000000000000}"/>
          </ac:spMkLst>
        </pc:spChg>
        <pc:spChg chg="mod">
          <ac:chgData name="Julien Koerber" userId="816e704f-9f28-481a-98cb-78078794ec7b" providerId="ADAL" clId="{67384873-A532-462E-9867-AD6E6DA1C56B}" dt="2025-03-27T08:57:32.224" v="4286" actId="1076"/>
          <ac:spMkLst>
            <pc:docMk/>
            <pc:sldMk cId="694483714" sldId="2147378509"/>
            <ac:spMk id="22" creationId="{00000000-0000-0000-0000-000000000000}"/>
          </ac:spMkLst>
        </pc:spChg>
        <pc:spChg chg="mod">
          <ac:chgData name="Julien Koerber" userId="816e704f-9f28-481a-98cb-78078794ec7b" providerId="ADAL" clId="{67384873-A532-462E-9867-AD6E6DA1C56B}" dt="2025-03-27T08:57:32.224" v="4286" actId="1076"/>
          <ac:spMkLst>
            <pc:docMk/>
            <pc:sldMk cId="694483714" sldId="2147378509"/>
            <ac:spMk id="23" creationId="{00000000-0000-0000-0000-000000000000}"/>
          </ac:spMkLst>
        </pc:spChg>
        <pc:spChg chg="mod">
          <ac:chgData name="Julien Koerber" userId="816e704f-9f28-481a-98cb-78078794ec7b" providerId="ADAL" clId="{67384873-A532-462E-9867-AD6E6DA1C56B}" dt="2025-03-27T08:57:32.224" v="4286" actId="1076"/>
          <ac:spMkLst>
            <pc:docMk/>
            <pc:sldMk cId="694483714" sldId="2147378509"/>
            <ac:spMk id="24" creationId="{00000000-0000-0000-0000-000000000000}"/>
          </ac:spMkLst>
        </pc:spChg>
        <pc:spChg chg="mod">
          <ac:chgData name="Julien Koerber" userId="816e704f-9f28-481a-98cb-78078794ec7b" providerId="ADAL" clId="{67384873-A532-462E-9867-AD6E6DA1C56B}" dt="2025-03-26T12:38:14.186" v="3732" actId="947"/>
          <ac:spMkLst>
            <pc:docMk/>
            <pc:sldMk cId="694483714" sldId="2147378509"/>
            <ac:spMk id="25" creationId="{00000000-0000-0000-0000-000000000000}"/>
          </ac:spMkLst>
        </pc:spChg>
        <pc:grpChg chg="mod">
          <ac:chgData name="Julien Koerber" userId="816e704f-9f28-481a-98cb-78078794ec7b" providerId="ADAL" clId="{67384873-A532-462E-9867-AD6E6DA1C56B}" dt="2025-03-27T08:57:32.224" v="4286" actId="1076"/>
          <ac:grpSpMkLst>
            <pc:docMk/>
            <pc:sldMk cId="694483714" sldId="2147378509"/>
            <ac:grpSpMk id="18" creationId="{00000000-0000-0000-0000-000000000000}"/>
          </ac:grpSpMkLst>
        </pc:grpChg>
        <pc:picChg chg="add mod">
          <ac:chgData name="Julien Koerber" userId="816e704f-9f28-481a-98cb-78078794ec7b" providerId="ADAL" clId="{67384873-A532-462E-9867-AD6E6DA1C56B}" dt="2025-03-26T12:35:02.766" v="3615" actId="571"/>
          <ac:picMkLst>
            <pc:docMk/>
            <pc:sldMk cId="694483714" sldId="2147378509"/>
            <ac:picMk id="2" creationId="{70AE0C0E-CD1B-14C2-FBB4-B00B5ED277D3}"/>
          </ac:picMkLst>
        </pc:picChg>
        <pc:picChg chg="mod">
          <ac:chgData name="Julien Koerber" userId="816e704f-9f28-481a-98cb-78078794ec7b" providerId="ADAL" clId="{67384873-A532-462E-9867-AD6E6DA1C56B}" dt="2025-03-26T12:35:06.963" v="3617" actId="1076"/>
          <ac:picMkLst>
            <pc:docMk/>
            <pc:sldMk cId="694483714" sldId="2147378509"/>
            <ac:picMk id="3" creationId="{24481355-1F84-4C9E-A857-7C73049EA135}"/>
          </ac:picMkLst>
        </pc:picChg>
      </pc:sldChg>
      <pc:sldChg chg="modSp mod">
        <pc:chgData name="Julien Koerber" userId="816e704f-9f28-481a-98cb-78078794ec7b" providerId="ADAL" clId="{67384873-A532-462E-9867-AD6E6DA1C56B}" dt="2025-03-25T11:58:17.684" v="1614" actId="20577"/>
        <pc:sldMkLst>
          <pc:docMk/>
          <pc:sldMk cId="579111148" sldId="2147378510"/>
        </pc:sldMkLst>
        <pc:spChg chg="mod">
          <ac:chgData name="Julien Koerber" userId="816e704f-9f28-481a-98cb-78078794ec7b" providerId="ADAL" clId="{67384873-A532-462E-9867-AD6E6DA1C56B}" dt="2025-03-24T12:46:56.894" v="660" actId="20577"/>
          <ac:spMkLst>
            <pc:docMk/>
            <pc:sldMk cId="579111148" sldId="2147378510"/>
            <ac:spMk id="8" creationId="{FF0F8BD7-7609-2AC6-D79A-1B0DB4C00173}"/>
          </ac:spMkLst>
        </pc:spChg>
        <pc:spChg chg="mod">
          <ac:chgData name="Julien Koerber" userId="816e704f-9f28-481a-98cb-78078794ec7b" providerId="ADAL" clId="{67384873-A532-462E-9867-AD6E6DA1C56B}" dt="2025-03-25T11:58:17.684" v="1614" actId="20577"/>
          <ac:spMkLst>
            <pc:docMk/>
            <pc:sldMk cId="579111148" sldId="2147378510"/>
            <ac:spMk id="11" creationId="{3067760D-F397-F6CE-3D2C-D6C47E4A92CB}"/>
          </ac:spMkLst>
        </pc:spChg>
      </pc:sldChg>
      <pc:sldChg chg="modSp del mod ord">
        <pc:chgData name="Julien Koerber" userId="816e704f-9f28-481a-98cb-78078794ec7b" providerId="ADAL" clId="{67384873-A532-462E-9867-AD6E6DA1C56B}" dt="2025-03-25T15:10:01.353" v="3560" actId="2696"/>
        <pc:sldMkLst>
          <pc:docMk/>
          <pc:sldMk cId="4148576040" sldId="2147378519"/>
        </pc:sldMkLst>
        <pc:spChg chg="mod">
          <ac:chgData name="Julien Koerber" userId="816e704f-9f28-481a-98cb-78078794ec7b" providerId="ADAL" clId="{67384873-A532-462E-9867-AD6E6DA1C56B}" dt="2025-03-25T08:10:00.561" v="716" actId="20577"/>
          <ac:spMkLst>
            <pc:docMk/>
            <pc:sldMk cId="4148576040" sldId="2147378519"/>
            <ac:spMk id="7" creationId="{00000000-0000-0000-0000-000000000000}"/>
          </ac:spMkLst>
        </pc:spChg>
        <pc:spChg chg="mod">
          <ac:chgData name="Julien Koerber" userId="816e704f-9f28-481a-98cb-78078794ec7b" providerId="ADAL" clId="{67384873-A532-462E-9867-AD6E6DA1C56B}" dt="2025-03-25T15:09:59.767" v="3557" actId="12"/>
          <ac:spMkLst>
            <pc:docMk/>
            <pc:sldMk cId="4148576040" sldId="2147378519"/>
            <ac:spMk id="8" creationId="{00000000-0000-0000-0000-000000000000}"/>
          </ac:spMkLst>
        </pc:spChg>
        <pc:grpChg chg="mod">
          <ac:chgData name="Julien Koerber" userId="816e704f-9f28-481a-98cb-78078794ec7b" providerId="ADAL" clId="{67384873-A532-462E-9867-AD6E6DA1C56B}" dt="2025-03-25T08:10:07.749" v="717" actId="1076"/>
          <ac:grpSpMkLst>
            <pc:docMk/>
            <pc:sldMk cId="4148576040" sldId="2147378519"/>
            <ac:grpSpMk id="11" creationId="{ED0DC33E-92CD-4B52-96E7-C3C04264C888}"/>
          </ac:grpSpMkLst>
        </pc:grpChg>
      </pc:sldChg>
      <pc:sldChg chg="modSp mod">
        <pc:chgData name="Julien Koerber" userId="816e704f-9f28-481a-98cb-78078794ec7b" providerId="ADAL" clId="{67384873-A532-462E-9867-AD6E6DA1C56B}" dt="2025-03-25T08:11:49.361" v="738" actId="20577"/>
        <pc:sldMkLst>
          <pc:docMk/>
          <pc:sldMk cId="3584097292" sldId="2147378520"/>
        </pc:sldMkLst>
        <pc:spChg chg="mod">
          <ac:chgData name="Julien Koerber" userId="816e704f-9f28-481a-98cb-78078794ec7b" providerId="ADAL" clId="{67384873-A532-462E-9867-AD6E6DA1C56B}" dt="2025-03-25T08:11:49.361" v="738" actId="20577"/>
          <ac:spMkLst>
            <pc:docMk/>
            <pc:sldMk cId="3584097292" sldId="2147378520"/>
            <ac:spMk id="4" creationId="{43A06B69-6968-0872-EF17-778B12E4A820}"/>
          </ac:spMkLst>
        </pc:spChg>
      </pc:sldChg>
      <pc:sldChg chg="addSp delSp modSp mod">
        <pc:chgData name="Julien Koerber" userId="816e704f-9f28-481a-98cb-78078794ec7b" providerId="ADAL" clId="{67384873-A532-462E-9867-AD6E6DA1C56B}" dt="2025-03-27T13:28:26.812" v="4593" actId="20577"/>
        <pc:sldMkLst>
          <pc:docMk/>
          <pc:sldMk cId="675815727" sldId="2147483498"/>
        </pc:sldMkLst>
        <pc:spChg chg="mod">
          <ac:chgData name="Julien Koerber" userId="816e704f-9f28-481a-98cb-78078794ec7b" providerId="ADAL" clId="{67384873-A532-462E-9867-AD6E6DA1C56B}" dt="2025-03-27T10:17:24.843" v="4348" actId="20577"/>
          <ac:spMkLst>
            <pc:docMk/>
            <pc:sldMk cId="675815727" sldId="2147483498"/>
            <ac:spMk id="2" creationId="{A8E88944-382E-C9EF-781F-8F2302F5FA03}"/>
          </ac:spMkLst>
        </pc:spChg>
        <pc:spChg chg="mod">
          <ac:chgData name="Julien Koerber" userId="816e704f-9f28-481a-98cb-78078794ec7b" providerId="ADAL" clId="{67384873-A532-462E-9867-AD6E6DA1C56B}" dt="2025-03-24T09:38:15.473" v="293" actId="1076"/>
          <ac:spMkLst>
            <pc:docMk/>
            <pc:sldMk cId="675815727" sldId="2147483498"/>
            <ac:spMk id="3" creationId="{E2C2FF65-CF30-8057-76A7-39DA90F9EBD2}"/>
          </ac:spMkLst>
        </pc:spChg>
        <pc:spChg chg="mod">
          <ac:chgData name="Julien Koerber" userId="816e704f-9f28-481a-98cb-78078794ec7b" providerId="ADAL" clId="{67384873-A532-462E-9867-AD6E6DA1C56B}" dt="2025-03-27T13:28:26.812" v="4593" actId="20577"/>
          <ac:spMkLst>
            <pc:docMk/>
            <pc:sldMk cId="675815727" sldId="2147483498"/>
            <ac:spMk id="4" creationId="{0D821D37-FBA1-C5F9-E52E-B3E13106BED8}"/>
          </ac:spMkLst>
        </pc:spChg>
        <pc:spChg chg="mod">
          <ac:chgData name="Julien Koerber" userId="816e704f-9f28-481a-98cb-78078794ec7b" providerId="ADAL" clId="{67384873-A532-462E-9867-AD6E6DA1C56B}" dt="2025-03-25T13:31:15.105" v="2405" actId="20577"/>
          <ac:spMkLst>
            <pc:docMk/>
            <pc:sldMk cId="675815727" sldId="2147483498"/>
            <ac:spMk id="5" creationId="{1209BF82-0688-DB4A-CC0A-93EAB5A27EAC}"/>
          </ac:spMkLst>
        </pc:spChg>
        <pc:spChg chg="mod">
          <ac:chgData name="Julien Koerber" userId="816e704f-9f28-481a-98cb-78078794ec7b" providerId="ADAL" clId="{67384873-A532-462E-9867-AD6E6DA1C56B}" dt="2025-03-26T12:25:43.136" v="3606" actId="1076"/>
          <ac:spMkLst>
            <pc:docMk/>
            <pc:sldMk cId="675815727" sldId="2147483498"/>
            <ac:spMk id="7" creationId="{B4259E3F-45A5-4A91-1C04-756FFD232008}"/>
          </ac:spMkLst>
        </pc:spChg>
        <pc:spChg chg="add del mod">
          <ac:chgData name="Julien Koerber" userId="816e704f-9f28-481a-98cb-78078794ec7b" providerId="ADAL" clId="{67384873-A532-462E-9867-AD6E6DA1C56B}" dt="2025-03-25T12:18:23.771" v="2295" actId="767"/>
          <ac:spMkLst>
            <pc:docMk/>
            <pc:sldMk cId="675815727" sldId="2147483498"/>
            <ac:spMk id="8" creationId="{C3C0EEF7-285C-63AD-C2F1-A24F4DA0BD8B}"/>
          </ac:spMkLst>
        </pc:spChg>
        <pc:spChg chg="add mod">
          <ac:chgData name="Julien Koerber" userId="816e704f-9f28-481a-98cb-78078794ec7b" providerId="ADAL" clId="{67384873-A532-462E-9867-AD6E6DA1C56B}" dt="2025-03-25T12:18:22.385" v="2292" actId="767"/>
          <ac:spMkLst>
            <pc:docMk/>
            <pc:sldMk cId="675815727" sldId="2147483498"/>
            <ac:spMk id="9" creationId="{E01B5ECC-9D5A-F785-5E55-504A71DB7508}"/>
          </ac:spMkLst>
        </pc:spChg>
      </pc:sldChg>
      <pc:sldChg chg="addSp delSp modSp add mod ord modClrScheme chgLayout">
        <pc:chgData name="Julien Koerber" userId="816e704f-9f28-481a-98cb-78078794ec7b" providerId="ADAL" clId="{67384873-A532-462E-9867-AD6E6DA1C56B}" dt="2025-03-27T14:37:13.332" v="4695" actId="700"/>
        <pc:sldMkLst>
          <pc:docMk/>
          <pc:sldMk cId="147624174" sldId="2147483499"/>
        </pc:sldMkLst>
        <pc:spChg chg="add del mod ord">
          <ac:chgData name="Julien Koerber" userId="816e704f-9f28-481a-98cb-78078794ec7b" providerId="ADAL" clId="{67384873-A532-462E-9867-AD6E6DA1C56B}" dt="2025-03-27T14:37:13.332" v="4695" actId="700"/>
          <ac:spMkLst>
            <pc:docMk/>
            <pc:sldMk cId="147624174" sldId="2147483499"/>
            <ac:spMk id="2" creationId="{43122DCA-A14F-61C5-49AA-07B1F9864342}"/>
          </ac:spMkLst>
        </pc:spChg>
        <pc:spChg chg="add del mod ord">
          <ac:chgData name="Julien Koerber" userId="816e704f-9f28-481a-98cb-78078794ec7b" providerId="ADAL" clId="{67384873-A532-462E-9867-AD6E6DA1C56B}" dt="2025-03-27T14:37:13.332" v="4695" actId="700"/>
          <ac:spMkLst>
            <pc:docMk/>
            <pc:sldMk cId="147624174" sldId="2147483499"/>
            <ac:spMk id="3" creationId="{CB257DCF-C0FF-D8D2-8F83-ED79F4427794}"/>
          </ac:spMkLst>
        </pc:spChg>
        <pc:spChg chg="add del mod ord">
          <ac:chgData name="Julien Koerber" userId="816e704f-9f28-481a-98cb-78078794ec7b" providerId="ADAL" clId="{67384873-A532-462E-9867-AD6E6DA1C56B}" dt="2025-03-27T14:37:13.332" v="4695" actId="700"/>
          <ac:spMkLst>
            <pc:docMk/>
            <pc:sldMk cId="147624174" sldId="2147483499"/>
            <ac:spMk id="4" creationId="{DD266DAC-F2AD-D37C-E932-0FE766FE4ABD}"/>
          </ac:spMkLst>
        </pc:spChg>
        <pc:spChg chg="add del mod ord">
          <ac:chgData name="Julien Koerber" userId="816e704f-9f28-481a-98cb-78078794ec7b" providerId="ADAL" clId="{67384873-A532-462E-9867-AD6E6DA1C56B}" dt="2025-03-27T14:37:13.332" v="4695" actId="700"/>
          <ac:spMkLst>
            <pc:docMk/>
            <pc:sldMk cId="147624174" sldId="2147483499"/>
            <ac:spMk id="5" creationId="{AE25A18A-0827-BCE5-B711-C0BAF92765F9}"/>
          </ac:spMkLst>
        </pc:spChg>
        <pc:spChg chg="add del mod ord">
          <ac:chgData name="Julien Koerber" userId="816e704f-9f28-481a-98cb-78078794ec7b" providerId="ADAL" clId="{67384873-A532-462E-9867-AD6E6DA1C56B}" dt="2025-03-27T14:37:13.332" v="4695" actId="700"/>
          <ac:spMkLst>
            <pc:docMk/>
            <pc:sldMk cId="147624174" sldId="2147483499"/>
            <ac:spMk id="6" creationId="{BB03384F-DB89-7F18-4C67-829A2272F003}"/>
          </ac:spMkLst>
        </pc:spChg>
        <pc:spChg chg="mod ord">
          <ac:chgData name="Julien Koerber" userId="816e704f-9f28-481a-98cb-78078794ec7b" providerId="ADAL" clId="{67384873-A532-462E-9867-AD6E6DA1C56B}" dt="2025-03-27T14:37:13.332" v="4695" actId="700"/>
          <ac:spMkLst>
            <pc:docMk/>
            <pc:sldMk cId="147624174" sldId="2147483499"/>
            <ac:spMk id="8" creationId="{FF0F8BD7-7609-2AC6-D79A-1B0DB4C00173}"/>
          </ac:spMkLst>
        </pc:spChg>
        <pc:spChg chg="mod ord">
          <ac:chgData name="Julien Koerber" userId="816e704f-9f28-481a-98cb-78078794ec7b" providerId="ADAL" clId="{67384873-A532-462E-9867-AD6E6DA1C56B}" dt="2025-03-27T14:37:13.332" v="4695" actId="700"/>
          <ac:spMkLst>
            <pc:docMk/>
            <pc:sldMk cId="147624174" sldId="2147483499"/>
            <ac:spMk id="11" creationId="{3067760D-F397-F6CE-3D2C-D6C47E4A92CB}"/>
          </ac:spMkLst>
        </pc:spChg>
      </pc:sldChg>
      <pc:sldChg chg="addSp delSp modSp add mod ord">
        <pc:chgData name="Julien Koerber" userId="816e704f-9f28-481a-98cb-78078794ec7b" providerId="ADAL" clId="{67384873-A532-462E-9867-AD6E6DA1C56B}" dt="2025-03-27T13:32:23.154" v="4612" actId="1076"/>
        <pc:sldMkLst>
          <pc:docMk/>
          <pc:sldMk cId="3593221261" sldId="2147483500"/>
        </pc:sldMkLst>
        <pc:spChg chg="mod">
          <ac:chgData name="Julien Koerber" userId="816e704f-9f28-481a-98cb-78078794ec7b" providerId="ADAL" clId="{67384873-A532-462E-9867-AD6E6DA1C56B}" dt="2025-03-27T13:32:18.608" v="4611" actId="20577"/>
          <ac:spMkLst>
            <pc:docMk/>
            <pc:sldMk cId="3593221261" sldId="2147483500"/>
            <ac:spMk id="2" creationId="{A8E88944-382E-C9EF-781F-8F2302F5FA03}"/>
          </ac:spMkLst>
        </pc:spChg>
        <pc:spChg chg="mod">
          <ac:chgData name="Julien Koerber" userId="816e704f-9f28-481a-98cb-78078794ec7b" providerId="ADAL" clId="{67384873-A532-462E-9867-AD6E6DA1C56B}" dt="2025-03-25T08:16:18.765" v="824" actId="20577"/>
          <ac:spMkLst>
            <pc:docMk/>
            <pc:sldMk cId="3593221261" sldId="2147483500"/>
            <ac:spMk id="4" creationId="{0D821D37-FBA1-C5F9-E52E-B3E13106BED8}"/>
          </ac:spMkLst>
        </pc:spChg>
        <pc:spChg chg="mod">
          <ac:chgData name="Julien Koerber" userId="816e704f-9f28-481a-98cb-78078794ec7b" providerId="ADAL" clId="{67384873-A532-462E-9867-AD6E6DA1C56B}" dt="2025-03-25T13:31:36.111" v="2407"/>
          <ac:spMkLst>
            <pc:docMk/>
            <pc:sldMk cId="3593221261" sldId="2147483500"/>
            <ac:spMk id="5" creationId="{1209BF82-0688-DB4A-CC0A-93EAB5A27EAC}"/>
          </ac:spMkLst>
        </pc:spChg>
        <pc:picChg chg="add mod">
          <ac:chgData name="Julien Koerber" userId="816e704f-9f28-481a-98cb-78078794ec7b" providerId="ADAL" clId="{67384873-A532-462E-9867-AD6E6DA1C56B}" dt="2025-03-25T08:16:31.100" v="828" actId="14100"/>
          <ac:picMkLst>
            <pc:docMk/>
            <pc:sldMk cId="3593221261" sldId="2147483500"/>
            <ac:picMk id="1026" creationId="{02237219-A795-0223-D3E0-1DC7141F6A99}"/>
          </ac:picMkLst>
        </pc:picChg>
        <pc:picChg chg="add mod">
          <ac:chgData name="Julien Koerber" userId="816e704f-9f28-481a-98cb-78078794ec7b" providerId="ADAL" clId="{67384873-A532-462E-9867-AD6E6DA1C56B}" dt="2025-03-27T13:32:23.154" v="4612" actId="1076"/>
          <ac:picMkLst>
            <pc:docMk/>
            <pc:sldMk cId="3593221261" sldId="2147483500"/>
            <ac:picMk id="1028" creationId="{032C65B0-F8CD-D92D-FA78-473408497B6A}"/>
          </ac:picMkLst>
        </pc:picChg>
        <pc:picChg chg="add del mod">
          <ac:chgData name="Julien Koerber" userId="816e704f-9f28-481a-98cb-78078794ec7b" providerId="ADAL" clId="{67384873-A532-462E-9867-AD6E6DA1C56B}" dt="2025-03-25T08:27:42.452" v="896" actId="478"/>
          <ac:picMkLst>
            <pc:docMk/>
            <pc:sldMk cId="3593221261" sldId="2147483500"/>
            <ac:picMk id="1030" creationId="{C569E1CE-0F79-882E-7620-734D3A46AB6F}"/>
          </ac:picMkLst>
        </pc:picChg>
      </pc:sldChg>
      <pc:sldChg chg="addSp delSp modSp add mod">
        <pc:chgData name="Julien Koerber" userId="816e704f-9f28-481a-98cb-78078794ec7b" providerId="ADAL" clId="{67384873-A532-462E-9867-AD6E6DA1C56B}" dt="2025-03-26T13:34:32.020" v="3840" actId="313"/>
        <pc:sldMkLst>
          <pc:docMk/>
          <pc:sldMk cId="311844020" sldId="2147483501"/>
        </pc:sldMkLst>
        <pc:spChg chg="add mod">
          <ac:chgData name="Julien Koerber" userId="816e704f-9f28-481a-98cb-78078794ec7b" providerId="ADAL" clId="{67384873-A532-462E-9867-AD6E6DA1C56B}" dt="2025-03-26T13:34:32.020" v="3840" actId="313"/>
          <ac:spMkLst>
            <pc:docMk/>
            <pc:sldMk cId="311844020" sldId="2147483501"/>
            <ac:spMk id="3" creationId="{186264E6-D0E8-8E4B-C597-F47C9BC9E77F}"/>
          </ac:spMkLst>
        </pc:spChg>
        <pc:spChg chg="mod">
          <ac:chgData name="Julien Koerber" userId="816e704f-9f28-481a-98cb-78078794ec7b" providerId="ADAL" clId="{67384873-A532-462E-9867-AD6E6DA1C56B}" dt="2025-03-25T10:27:51.845" v="1485" actId="20577"/>
          <ac:spMkLst>
            <pc:docMk/>
            <pc:sldMk cId="311844020" sldId="2147483501"/>
            <ac:spMk id="4" creationId="{1D299F93-F177-8703-7C5A-667E30618BA7}"/>
          </ac:spMkLst>
        </pc:spChg>
        <pc:spChg chg="mod">
          <ac:chgData name="Julien Koerber" userId="816e704f-9f28-481a-98cb-78078794ec7b" providerId="ADAL" clId="{67384873-A532-462E-9867-AD6E6DA1C56B}" dt="2025-03-25T14:26:06.822" v="3479" actId="313"/>
          <ac:spMkLst>
            <pc:docMk/>
            <pc:sldMk cId="311844020" sldId="2147483501"/>
            <ac:spMk id="5" creationId="{31778FF3-693E-51A9-2D9F-1F47B7A22525}"/>
          </ac:spMkLst>
        </pc:spChg>
        <pc:picChg chg="add mod">
          <ac:chgData name="Julien Koerber" userId="816e704f-9f28-481a-98cb-78078794ec7b" providerId="ADAL" clId="{67384873-A532-462E-9867-AD6E6DA1C56B}" dt="2025-03-25T10:20:11.750" v="1367" actId="1076"/>
          <ac:picMkLst>
            <pc:docMk/>
            <pc:sldMk cId="311844020" sldId="2147483501"/>
            <ac:picMk id="7" creationId="{C59FB97E-31A7-7F47-1E0A-335A46847383}"/>
          </ac:picMkLst>
        </pc:picChg>
        <pc:picChg chg="del">
          <ac:chgData name="Julien Koerber" userId="816e704f-9f28-481a-98cb-78078794ec7b" providerId="ADAL" clId="{67384873-A532-462E-9867-AD6E6DA1C56B}" dt="2025-03-25T08:29:32.525" v="983" actId="478"/>
          <ac:picMkLst>
            <pc:docMk/>
            <pc:sldMk cId="311844020" sldId="2147483501"/>
            <ac:picMk id="11" creationId="{50690E02-E59B-3D5C-4DE7-66AA42789563}"/>
          </ac:picMkLst>
        </pc:picChg>
      </pc:sldChg>
      <pc:sldChg chg="modSp add mod">
        <pc:chgData name="Julien Koerber" userId="816e704f-9f28-481a-98cb-78078794ec7b" providerId="ADAL" clId="{67384873-A532-462E-9867-AD6E6DA1C56B}" dt="2025-03-26T13:08:17.744" v="3759" actId="20577"/>
        <pc:sldMkLst>
          <pc:docMk/>
          <pc:sldMk cId="90811673" sldId="2147483502"/>
        </pc:sldMkLst>
        <pc:spChg chg="mod">
          <ac:chgData name="Julien Koerber" userId="816e704f-9f28-481a-98cb-78078794ec7b" providerId="ADAL" clId="{67384873-A532-462E-9867-AD6E6DA1C56B}" dt="2025-03-26T13:08:17.744" v="3759" actId="20577"/>
          <ac:spMkLst>
            <pc:docMk/>
            <pc:sldMk cId="90811673" sldId="2147483502"/>
            <ac:spMk id="8" creationId="{FF0F8BD7-7609-2AC6-D79A-1B0DB4C00173}"/>
          </ac:spMkLst>
        </pc:spChg>
        <pc:spChg chg="mod">
          <ac:chgData name="Julien Koerber" userId="816e704f-9f28-481a-98cb-78078794ec7b" providerId="ADAL" clId="{67384873-A532-462E-9867-AD6E6DA1C56B}" dt="2025-03-25T11:58:15.082" v="1613" actId="20577"/>
          <ac:spMkLst>
            <pc:docMk/>
            <pc:sldMk cId="90811673" sldId="2147483502"/>
            <ac:spMk id="11" creationId="{3067760D-F397-F6CE-3D2C-D6C47E4A92CB}"/>
          </ac:spMkLst>
        </pc:spChg>
      </pc:sldChg>
      <pc:sldChg chg="add del">
        <pc:chgData name="Julien Koerber" userId="816e704f-9f28-481a-98cb-78078794ec7b" providerId="ADAL" clId="{67384873-A532-462E-9867-AD6E6DA1C56B}" dt="2025-03-25T08:35:52.776" v="1007" actId="2696"/>
        <pc:sldMkLst>
          <pc:docMk/>
          <pc:sldMk cId="1673798977" sldId="2147483502"/>
        </pc:sldMkLst>
      </pc:sldChg>
      <pc:sldChg chg="addSp delSp modSp add mod ord">
        <pc:chgData name="Julien Koerber" userId="816e704f-9f28-481a-98cb-78078794ec7b" providerId="ADAL" clId="{67384873-A532-462E-9867-AD6E6DA1C56B}" dt="2025-03-27T15:19:38.080" v="4696" actId="20577"/>
        <pc:sldMkLst>
          <pc:docMk/>
          <pc:sldMk cId="1493250422" sldId="2147483503"/>
        </pc:sldMkLst>
        <pc:spChg chg="mod">
          <ac:chgData name="Julien Koerber" userId="816e704f-9f28-481a-98cb-78078794ec7b" providerId="ADAL" clId="{67384873-A532-462E-9867-AD6E6DA1C56B}" dt="2025-03-27T15:19:38.080" v="4696" actId="20577"/>
          <ac:spMkLst>
            <pc:docMk/>
            <pc:sldMk cId="1493250422" sldId="2147483503"/>
            <ac:spMk id="2" creationId="{A8E88944-382E-C9EF-781F-8F2302F5FA03}"/>
          </ac:spMkLst>
        </pc:spChg>
        <pc:spChg chg="mod">
          <ac:chgData name="Julien Koerber" userId="816e704f-9f28-481a-98cb-78078794ec7b" providerId="ADAL" clId="{67384873-A532-462E-9867-AD6E6DA1C56B}" dt="2025-03-25T11:57:48.775" v="1610" actId="20577"/>
          <ac:spMkLst>
            <pc:docMk/>
            <pc:sldMk cId="1493250422" sldId="2147483503"/>
            <ac:spMk id="4" creationId="{0D821D37-FBA1-C5F9-E52E-B3E13106BED8}"/>
          </ac:spMkLst>
        </pc:spChg>
        <pc:spChg chg="mod">
          <ac:chgData name="Julien Koerber" userId="816e704f-9f28-481a-98cb-78078794ec7b" providerId="ADAL" clId="{67384873-A532-462E-9867-AD6E6DA1C56B}" dt="2025-03-26T15:10:48.515" v="4272" actId="1076"/>
          <ac:spMkLst>
            <pc:docMk/>
            <pc:sldMk cId="1493250422" sldId="2147483503"/>
            <ac:spMk id="5" creationId="{1209BF82-0688-DB4A-CC0A-93EAB5A27EAC}"/>
          </ac:spMkLst>
        </pc:spChg>
        <pc:spChg chg="add mod">
          <ac:chgData name="Julien Koerber" userId="816e704f-9f28-481a-98cb-78078794ec7b" providerId="ADAL" clId="{67384873-A532-462E-9867-AD6E6DA1C56B}" dt="2025-03-27T09:36:26.609" v="4289" actId="20577"/>
          <ac:spMkLst>
            <pc:docMk/>
            <pc:sldMk cId="1493250422" sldId="2147483503"/>
            <ac:spMk id="8" creationId="{352B0B71-DC66-F807-4AA4-44435AF6144B}"/>
          </ac:spMkLst>
        </pc:spChg>
        <pc:spChg chg="add mod">
          <ac:chgData name="Julien Koerber" userId="816e704f-9f28-481a-98cb-78078794ec7b" providerId="ADAL" clId="{67384873-A532-462E-9867-AD6E6DA1C56B}" dt="2025-03-25T14:22:30.182" v="3408"/>
          <ac:spMkLst>
            <pc:docMk/>
            <pc:sldMk cId="1493250422" sldId="2147483503"/>
            <ac:spMk id="10" creationId="{D7C6529A-EB78-45DA-5CDC-A9BD9B90EF84}"/>
          </ac:spMkLst>
        </pc:spChg>
        <pc:spChg chg="add del mod">
          <ac:chgData name="Julien Koerber" userId="816e704f-9f28-481a-98cb-78078794ec7b" providerId="ADAL" clId="{67384873-A532-462E-9867-AD6E6DA1C56B}" dt="2025-03-26T13:14:19.161" v="3835"/>
          <ac:spMkLst>
            <pc:docMk/>
            <pc:sldMk cId="1493250422" sldId="2147483503"/>
            <ac:spMk id="33" creationId="{D3465C6A-F661-E4D6-29C0-6E1B3A564112}"/>
          </ac:spMkLst>
        </pc:spChg>
        <pc:spChg chg="add mod">
          <ac:chgData name="Julien Koerber" userId="816e704f-9f28-481a-98cb-78078794ec7b" providerId="ADAL" clId="{67384873-A532-462E-9867-AD6E6DA1C56B}" dt="2025-03-27T09:37:25.455" v="4302" actId="1076"/>
          <ac:spMkLst>
            <pc:docMk/>
            <pc:sldMk cId="1493250422" sldId="2147483503"/>
            <ac:spMk id="34" creationId="{2CF39A11-ED1D-56FC-8351-00ECE97DA6C9}"/>
          </ac:spMkLst>
        </pc:spChg>
        <pc:spChg chg="add del mod">
          <ac:chgData name="Julien Koerber" userId="816e704f-9f28-481a-98cb-78078794ec7b" providerId="ADAL" clId="{67384873-A532-462E-9867-AD6E6DA1C56B}" dt="2025-03-26T13:42:02.551" v="3955" actId="478"/>
          <ac:spMkLst>
            <pc:docMk/>
            <pc:sldMk cId="1493250422" sldId="2147483503"/>
            <ac:spMk id="35" creationId="{65E6B688-836F-406C-E523-C0E84620B28B}"/>
          </ac:spMkLst>
        </pc:spChg>
        <pc:spChg chg="add mod">
          <ac:chgData name="Julien Koerber" userId="816e704f-9f28-481a-98cb-78078794ec7b" providerId="ADAL" clId="{67384873-A532-462E-9867-AD6E6DA1C56B}" dt="2025-03-26T15:11:07.978" v="4273" actId="1076"/>
          <ac:spMkLst>
            <pc:docMk/>
            <pc:sldMk cId="1493250422" sldId="2147483503"/>
            <ac:spMk id="36" creationId="{D2D33DCC-4234-084E-2631-D6D5082359ED}"/>
          </ac:spMkLst>
        </pc:spChg>
        <pc:spChg chg="add mod">
          <ac:chgData name="Julien Koerber" userId="816e704f-9f28-481a-98cb-78078794ec7b" providerId="ADAL" clId="{67384873-A532-462E-9867-AD6E6DA1C56B}" dt="2025-03-26T15:11:07.978" v="4273" actId="1076"/>
          <ac:spMkLst>
            <pc:docMk/>
            <pc:sldMk cId="1493250422" sldId="2147483503"/>
            <ac:spMk id="37" creationId="{2CED452D-B0E4-1879-D35E-98A1A1D7520A}"/>
          </ac:spMkLst>
        </pc:spChg>
        <pc:spChg chg="add mod">
          <ac:chgData name="Julien Koerber" userId="816e704f-9f28-481a-98cb-78078794ec7b" providerId="ADAL" clId="{67384873-A532-462E-9867-AD6E6DA1C56B}" dt="2025-03-26T15:11:07.978" v="4273" actId="1076"/>
          <ac:spMkLst>
            <pc:docMk/>
            <pc:sldMk cId="1493250422" sldId="2147483503"/>
            <ac:spMk id="38" creationId="{C8512DAE-6E1D-3F9F-7186-AB64ACE211E8}"/>
          </ac:spMkLst>
        </pc:spChg>
        <pc:spChg chg="add del mod">
          <ac:chgData name="Julien Koerber" userId="816e704f-9f28-481a-98cb-78078794ec7b" providerId="ADAL" clId="{67384873-A532-462E-9867-AD6E6DA1C56B}" dt="2025-03-26T13:43:13.562" v="3989" actId="478"/>
          <ac:spMkLst>
            <pc:docMk/>
            <pc:sldMk cId="1493250422" sldId="2147483503"/>
            <ac:spMk id="39" creationId="{6BA7831C-B2B1-AE14-253A-CB2CDFF4A06F}"/>
          </ac:spMkLst>
        </pc:spChg>
        <pc:spChg chg="add mod">
          <ac:chgData name="Julien Koerber" userId="816e704f-9f28-481a-98cb-78078794ec7b" providerId="ADAL" clId="{67384873-A532-462E-9867-AD6E6DA1C56B}" dt="2025-03-26T15:11:07.978" v="4273" actId="1076"/>
          <ac:spMkLst>
            <pc:docMk/>
            <pc:sldMk cId="1493250422" sldId="2147483503"/>
            <ac:spMk id="40" creationId="{7D48AD64-A67F-A691-97CA-BC5A7059F7F9}"/>
          </ac:spMkLst>
        </pc:spChg>
        <pc:picChg chg="add mod">
          <ac:chgData name="Julien Koerber" userId="816e704f-9f28-481a-98cb-78078794ec7b" providerId="ADAL" clId="{67384873-A532-462E-9867-AD6E6DA1C56B}" dt="2025-03-27T13:34:35.584" v="4613" actId="1076"/>
          <ac:picMkLst>
            <pc:docMk/>
            <pc:sldMk cId="1493250422" sldId="2147483503"/>
            <ac:picMk id="9" creationId="{020E4B00-EF30-B70D-7E2A-A465CE57C39C}"/>
          </ac:picMkLst>
        </pc:picChg>
        <pc:picChg chg="add del">
          <ac:chgData name="Julien Koerber" userId="816e704f-9f28-481a-98cb-78078794ec7b" providerId="ADAL" clId="{67384873-A532-462E-9867-AD6E6DA1C56B}" dt="2025-03-25T14:22:25.284" v="3406" actId="478"/>
          <ac:picMkLst>
            <pc:docMk/>
            <pc:sldMk cId="1493250422" sldId="2147483503"/>
            <ac:picMk id="9" creationId="{BFC3DC77-E076-1009-7C03-514B96FCE9F5}"/>
          </ac:picMkLst>
        </pc:picChg>
        <pc:picChg chg="add mod">
          <ac:chgData name="Julien Koerber" userId="816e704f-9f28-481a-98cb-78078794ec7b" providerId="ADAL" clId="{67384873-A532-462E-9867-AD6E6DA1C56B}" dt="2025-03-26T15:11:07.978" v="4273" actId="1076"/>
          <ac:picMkLst>
            <pc:docMk/>
            <pc:sldMk cId="1493250422" sldId="2147483503"/>
            <ac:picMk id="10" creationId="{9064699C-B4C7-41F0-76C6-4EAF02799B2B}"/>
          </ac:picMkLst>
        </pc:picChg>
        <pc:picChg chg="add mod">
          <ac:chgData name="Julien Koerber" userId="816e704f-9f28-481a-98cb-78078794ec7b" providerId="ADAL" clId="{67384873-A532-462E-9867-AD6E6DA1C56B}" dt="2025-03-26T15:11:07.978" v="4273" actId="1076"/>
          <ac:picMkLst>
            <pc:docMk/>
            <pc:sldMk cId="1493250422" sldId="2147483503"/>
            <ac:picMk id="11" creationId="{089EBB59-6BBB-220E-B0D3-8D498C41B891}"/>
          </ac:picMkLst>
        </pc:picChg>
        <pc:picChg chg="add mod">
          <ac:chgData name="Julien Koerber" userId="816e704f-9f28-481a-98cb-78078794ec7b" providerId="ADAL" clId="{67384873-A532-462E-9867-AD6E6DA1C56B}" dt="2025-03-26T15:11:07.978" v="4273" actId="1076"/>
          <ac:picMkLst>
            <pc:docMk/>
            <pc:sldMk cId="1493250422" sldId="2147483503"/>
            <ac:picMk id="12" creationId="{9F583783-2409-CA21-2A6D-086E27FEA409}"/>
          </ac:picMkLst>
        </pc:picChg>
        <pc:picChg chg="add del mod">
          <ac:chgData name="Julien Koerber" userId="816e704f-9f28-481a-98cb-78078794ec7b" providerId="ADAL" clId="{67384873-A532-462E-9867-AD6E6DA1C56B}" dt="2025-03-27T09:37:10.567" v="4297" actId="478"/>
          <ac:picMkLst>
            <pc:docMk/>
            <pc:sldMk cId="1493250422" sldId="2147483503"/>
            <ac:picMk id="13" creationId="{683322DA-4D95-A572-E7AE-93D367ED10C0}"/>
          </ac:picMkLst>
        </pc:picChg>
        <pc:picChg chg="add mod">
          <ac:chgData name="Julien Koerber" userId="816e704f-9f28-481a-98cb-78078794ec7b" providerId="ADAL" clId="{67384873-A532-462E-9867-AD6E6DA1C56B}" dt="2025-03-27T09:37:21.912" v="4301" actId="1076"/>
          <ac:picMkLst>
            <pc:docMk/>
            <pc:sldMk cId="1493250422" sldId="2147483503"/>
            <ac:picMk id="1026" creationId="{2915AA81-BBE4-B8D0-75FA-8B89BCECD572}"/>
          </ac:picMkLst>
        </pc:picChg>
        <pc:picChg chg="del">
          <ac:chgData name="Julien Koerber" userId="816e704f-9f28-481a-98cb-78078794ec7b" providerId="ADAL" clId="{67384873-A532-462E-9867-AD6E6DA1C56B}" dt="2025-03-25T09:07:54.412" v="1076" actId="478"/>
          <ac:picMkLst>
            <pc:docMk/>
            <pc:sldMk cId="1493250422" sldId="2147483503"/>
            <ac:picMk id="1028" creationId="{032C65B0-F8CD-D92D-FA78-473408497B6A}"/>
          </ac:picMkLst>
        </pc:picChg>
        <pc:cxnChg chg="add mod">
          <ac:chgData name="Julien Koerber" userId="816e704f-9f28-481a-98cb-78078794ec7b" providerId="ADAL" clId="{67384873-A532-462E-9867-AD6E6DA1C56B}" dt="2025-03-26T15:11:07.978" v="4273" actId="1076"/>
          <ac:cxnSpMkLst>
            <pc:docMk/>
            <pc:sldMk cId="1493250422" sldId="2147483503"/>
            <ac:cxnSpMk id="14" creationId="{38F397E6-69C9-C987-01F2-AB0CD1218894}"/>
          </ac:cxnSpMkLst>
        </pc:cxnChg>
        <pc:cxnChg chg="add mod">
          <ac:chgData name="Julien Koerber" userId="816e704f-9f28-481a-98cb-78078794ec7b" providerId="ADAL" clId="{67384873-A532-462E-9867-AD6E6DA1C56B}" dt="2025-03-26T15:11:07.978" v="4273" actId="1076"/>
          <ac:cxnSpMkLst>
            <pc:docMk/>
            <pc:sldMk cId="1493250422" sldId="2147483503"/>
            <ac:cxnSpMk id="19" creationId="{E3A4EF12-4002-950D-8063-572F3262587B}"/>
          </ac:cxnSpMkLst>
        </pc:cxnChg>
        <pc:cxnChg chg="add mod">
          <ac:chgData name="Julien Koerber" userId="816e704f-9f28-481a-98cb-78078794ec7b" providerId="ADAL" clId="{67384873-A532-462E-9867-AD6E6DA1C56B}" dt="2025-03-27T13:34:55.393" v="4615" actId="14100"/>
          <ac:cxnSpMkLst>
            <pc:docMk/>
            <pc:sldMk cId="1493250422" sldId="2147483503"/>
            <ac:cxnSpMk id="22" creationId="{F9B209E0-079E-7B49-864D-1B9123F53C7B}"/>
          </ac:cxnSpMkLst>
        </pc:cxnChg>
        <pc:cxnChg chg="add mod">
          <ac:chgData name="Julien Koerber" userId="816e704f-9f28-481a-98cb-78078794ec7b" providerId="ADAL" clId="{67384873-A532-462E-9867-AD6E6DA1C56B}" dt="2025-03-27T13:34:44.989" v="4614" actId="14100"/>
          <ac:cxnSpMkLst>
            <pc:docMk/>
            <pc:sldMk cId="1493250422" sldId="2147483503"/>
            <ac:cxnSpMk id="25" creationId="{8640DCB3-AC09-D636-7465-7A0B65740E94}"/>
          </ac:cxnSpMkLst>
        </pc:cxnChg>
      </pc:sldChg>
      <pc:sldChg chg="addSp delSp modSp add mod">
        <pc:chgData name="Julien Koerber" userId="816e704f-9f28-481a-98cb-78078794ec7b" providerId="ADAL" clId="{67384873-A532-462E-9867-AD6E6DA1C56B}" dt="2025-03-27T13:49:22.591" v="4691" actId="478"/>
        <pc:sldMkLst>
          <pc:docMk/>
          <pc:sldMk cId="1574801765" sldId="2147483504"/>
        </pc:sldMkLst>
        <pc:spChg chg="del">
          <ac:chgData name="Julien Koerber" userId="816e704f-9f28-481a-98cb-78078794ec7b" providerId="ADAL" clId="{67384873-A532-462E-9867-AD6E6DA1C56B}" dt="2025-03-27T13:49:22.591" v="4691" actId="478"/>
          <ac:spMkLst>
            <pc:docMk/>
            <pc:sldMk cId="1574801765" sldId="2147483504"/>
            <ac:spMk id="4" creationId="{1D299F93-F177-8703-7C5A-667E30618BA7}"/>
          </ac:spMkLst>
        </pc:spChg>
        <pc:spChg chg="mod">
          <ac:chgData name="Julien Koerber" userId="816e704f-9f28-481a-98cb-78078794ec7b" providerId="ADAL" clId="{67384873-A532-462E-9867-AD6E6DA1C56B}" dt="2025-03-25T14:26:16.669" v="3482" actId="313"/>
          <ac:spMkLst>
            <pc:docMk/>
            <pc:sldMk cId="1574801765" sldId="2147483504"/>
            <ac:spMk id="5" creationId="{31778FF3-693E-51A9-2D9F-1F47B7A22525}"/>
          </ac:spMkLst>
        </pc:spChg>
        <pc:spChg chg="add mod">
          <ac:chgData name="Julien Koerber" userId="816e704f-9f28-481a-98cb-78078794ec7b" providerId="ADAL" clId="{67384873-A532-462E-9867-AD6E6DA1C56B}" dt="2025-03-26T15:07:34.614" v="4269" actId="1076"/>
          <ac:spMkLst>
            <pc:docMk/>
            <pc:sldMk cId="1574801765" sldId="2147483504"/>
            <ac:spMk id="8" creationId="{43BAC6AD-9FF6-280D-83C6-6B2C69F4E7A4}"/>
          </ac:spMkLst>
        </pc:spChg>
        <pc:picChg chg="add mod">
          <ac:chgData name="Julien Koerber" userId="816e704f-9f28-481a-98cb-78078794ec7b" providerId="ADAL" clId="{67384873-A532-462E-9867-AD6E6DA1C56B}" dt="2025-03-26T15:05:17.982" v="4248" actId="1076"/>
          <ac:picMkLst>
            <pc:docMk/>
            <pc:sldMk cId="1574801765" sldId="2147483504"/>
            <ac:picMk id="3" creationId="{DBCD196F-DDB7-3B93-563E-C65BF9B31422}"/>
          </ac:picMkLst>
        </pc:picChg>
        <pc:picChg chg="add del">
          <ac:chgData name="Julien Koerber" userId="816e704f-9f28-481a-98cb-78078794ec7b" providerId="ADAL" clId="{67384873-A532-462E-9867-AD6E6DA1C56B}" dt="2025-03-26T15:05:25.564" v="4250" actId="478"/>
          <ac:picMkLst>
            <pc:docMk/>
            <pc:sldMk cId="1574801765" sldId="2147483504"/>
            <ac:picMk id="7" creationId="{DFE57163-3C19-15FB-6C57-FF5175AD457F}"/>
          </ac:picMkLst>
        </pc:picChg>
        <pc:picChg chg="del mod">
          <ac:chgData name="Julien Koerber" userId="816e704f-9f28-481a-98cb-78078794ec7b" providerId="ADAL" clId="{67384873-A532-462E-9867-AD6E6DA1C56B}" dt="2025-03-26T15:04:31.690" v="4240" actId="478"/>
          <ac:picMkLst>
            <pc:docMk/>
            <pc:sldMk cId="1574801765" sldId="2147483504"/>
            <ac:picMk id="11" creationId="{50690E02-E59B-3D5C-4DE7-66AA42789563}"/>
          </ac:picMkLst>
        </pc:picChg>
      </pc:sldChg>
      <pc:sldChg chg="addSp delSp modSp new del mod">
        <pc:chgData name="Julien Koerber" userId="816e704f-9f28-481a-98cb-78078794ec7b" providerId="ADAL" clId="{67384873-A532-462E-9867-AD6E6DA1C56B}" dt="2025-03-25T10:26:42.136" v="1467" actId="2696"/>
        <pc:sldMkLst>
          <pc:docMk/>
          <pc:sldMk cId="1937378278" sldId="2147483505"/>
        </pc:sldMkLst>
        <pc:picChg chg="add del mod">
          <ac:chgData name="Julien Koerber" userId="816e704f-9f28-481a-98cb-78078794ec7b" providerId="ADAL" clId="{67384873-A532-462E-9867-AD6E6DA1C56B}" dt="2025-03-25T10:26:39.151" v="1466" actId="478"/>
          <ac:picMkLst>
            <pc:docMk/>
            <pc:sldMk cId="1937378278" sldId="2147483505"/>
            <ac:picMk id="6" creationId="{87316098-2146-A389-B42F-DCCBCFB394C1}"/>
          </ac:picMkLst>
        </pc:picChg>
      </pc:sldChg>
      <pc:sldChg chg="delSp modSp add del mod">
        <pc:chgData name="Julien Koerber" userId="816e704f-9f28-481a-98cb-78078794ec7b" providerId="ADAL" clId="{67384873-A532-462E-9867-AD6E6DA1C56B}" dt="2025-03-25T10:21:20.369" v="1376" actId="2696"/>
        <pc:sldMkLst>
          <pc:docMk/>
          <pc:sldMk cId="3917979516" sldId="2147483505"/>
        </pc:sldMkLst>
        <pc:picChg chg="del mod">
          <ac:chgData name="Julien Koerber" userId="816e704f-9f28-481a-98cb-78078794ec7b" providerId="ADAL" clId="{67384873-A532-462E-9867-AD6E6DA1C56B}" dt="2025-03-25T10:21:16.355" v="1375" actId="478"/>
          <ac:picMkLst>
            <pc:docMk/>
            <pc:sldMk cId="3917979516" sldId="2147483505"/>
            <ac:picMk id="11" creationId="{50690E02-E59B-3D5C-4DE7-66AA42789563}"/>
          </ac:picMkLst>
        </pc:picChg>
      </pc:sldChg>
      <pc:sldChg chg="addSp delSp modSp new mod ord">
        <pc:chgData name="Julien Koerber" userId="816e704f-9f28-481a-98cb-78078794ec7b" providerId="ADAL" clId="{67384873-A532-462E-9867-AD6E6DA1C56B}" dt="2025-03-26T12:27:33.463" v="3612" actId="14100"/>
        <pc:sldMkLst>
          <pc:docMk/>
          <pc:sldMk cId="4101989672" sldId="2147483505"/>
        </pc:sldMkLst>
        <pc:spChg chg="del">
          <ac:chgData name="Julien Koerber" userId="816e704f-9f28-481a-98cb-78078794ec7b" providerId="ADAL" clId="{67384873-A532-462E-9867-AD6E6DA1C56B}" dt="2025-03-25T10:27:09.107" v="1471" actId="22"/>
          <ac:spMkLst>
            <pc:docMk/>
            <pc:sldMk cId="4101989672" sldId="2147483505"/>
            <ac:spMk id="2" creationId="{2464A0EA-4569-EE79-4DD3-FB711F2E191C}"/>
          </ac:spMkLst>
        </pc:spChg>
        <pc:spChg chg="mod">
          <ac:chgData name="Julien Koerber" userId="816e704f-9f28-481a-98cb-78078794ec7b" providerId="ADAL" clId="{67384873-A532-462E-9867-AD6E6DA1C56B}" dt="2025-03-25T14:26:04.241" v="3478" actId="313"/>
          <ac:spMkLst>
            <pc:docMk/>
            <pc:sldMk cId="4101989672" sldId="2147483505"/>
            <ac:spMk id="3" creationId="{7F8204B1-FCC0-E8EC-0B62-590C20DE9846}"/>
          </ac:spMkLst>
        </pc:spChg>
        <pc:spChg chg="mod">
          <ac:chgData name="Julien Koerber" userId="816e704f-9f28-481a-98cb-78078794ec7b" providerId="ADAL" clId="{67384873-A532-462E-9867-AD6E6DA1C56B}" dt="2025-03-25T10:27:35.179" v="1473"/>
          <ac:spMkLst>
            <pc:docMk/>
            <pc:sldMk cId="4101989672" sldId="2147483505"/>
            <ac:spMk id="4" creationId="{2F496249-D94A-3DE5-D8D4-4DC216C5B6ED}"/>
          </ac:spMkLst>
        </pc:spChg>
        <pc:picChg chg="add mod">
          <ac:chgData name="Julien Koerber" userId="816e704f-9f28-481a-98cb-78078794ec7b" providerId="ADAL" clId="{67384873-A532-462E-9867-AD6E6DA1C56B}" dt="2025-03-26T08:47:57.124" v="3604" actId="1076"/>
          <ac:picMkLst>
            <pc:docMk/>
            <pc:sldMk cId="4101989672" sldId="2147483505"/>
            <ac:picMk id="5" creationId="{B41EE790-A721-DEC1-8772-07C860FF1D76}"/>
          </ac:picMkLst>
        </pc:picChg>
        <pc:picChg chg="add mod ord">
          <ac:chgData name="Julien Koerber" userId="816e704f-9f28-481a-98cb-78078794ec7b" providerId="ADAL" clId="{67384873-A532-462E-9867-AD6E6DA1C56B}" dt="2025-03-26T08:47:59.912" v="3605" actId="1076"/>
          <ac:picMkLst>
            <pc:docMk/>
            <pc:sldMk cId="4101989672" sldId="2147483505"/>
            <ac:picMk id="6" creationId="{FB0E71B1-8B70-D7B4-3709-9A12B71EDBEB}"/>
          </ac:picMkLst>
        </pc:picChg>
        <pc:cxnChg chg="add mod">
          <ac:chgData name="Julien Koerber" userId="816e704f-9f28-481a-98cb-78078794ec7b" providerId="ADAL" clId="{67384873-A532-462E-9867-AD6E6DA1C56B}" dt="2025-03-26T12:27:33.463" v="3612" actId="14100"/>
          <ac:cxnSpMkLst>
            <pc:docMk/>
            <pc:sldMk cId="4101989672" sldId="2147483505"/>
            <ac:cxnSpMk id="8" creationId="{A0E2C7CC-26A2-1607-1D51-8BEF21BCB89A}"/>
          </ac:cxnSpMkLst>
        </pc:cxnChg>
      </pc:sldChg>
      <pc:sldChg chg="delSp modSp add mod">
        <pc:chgData name="Julien Koerber" userId="816e704f-9f28-481a-98cb-78078794ec7b" providerId="ADAL" clId="{67384873-A532-462E-9867-AD6E6DA1C56B}" dt="2025-03-25T13:31:39.302" v="2408"/>
        <pc:sldMkLst>
          <pc:docMk/>
          <pc:sldMk cId="787996660" sldId="2147483506"/>
        </pc:sldMkLst>
        <pc:spChg chg="mod">
          <ac:chgData name="Julien Koerber" userId="816e704f-9f28-481a-98cb-78078794ec7b" providerId="ADAL" clId="{67384873-A532-462E-9867-AD6E6DA1C56B}" dt="2025-03-25T12:15:37.059" v="2227" actId="313"/>
          <ac:spMkLst>
            <pc:docMk/>
            <pc:sldMk cId="787996660" sldId="2147483506"/>
            <ac:spMk id="2" creationId="{A8E88944-382E-C9EF-781F-8F2302F5FA03}"/>
          </ac:spMkLst>
        </pc:spChg>
        <pc:spChg chg="mod">
          <ac:chgData name="Julien Koerber" userId="816e704f-9f28-481a-98cb-78078794ec7b" providerId="ADAL" clId="{67384873-A532-462E-9867-AD6E6DA1C56B}" dt="2025-03-25T12:16:11.906" v="2279" actId="403"/>
          <ac:spMkLst>
            <pc:docMk/>
            <pc:sldMk cId="787996660" sldId="2147483506"/>
            <ac:spMk id="4" creationId="{0D821D37-FBA1-C5F9-E52E-B3E13106BED8}"/>
          </ac:spMkLst>
        </pc:spChg>
        <pc:spChg chg="mod">
          <ac:chgData name="Julien Koerber" userId="816e704f-9f28-481a-98cb-78078794ec7b" providerId="ADAL" clId="{67384873-A532-462E-9867-AD6E6DA1C56B}" dt="2025-03-25T13:31:39.302" v="2408"/>
          <ac:spMkLst>
            <pc:docMk/>
            <pc:sldMk cId="787996660" sldId="2147483506"/>
            <ac:spMk id="5" creationId="{1209BF82-0688-DB4A-CC0A-93EAB5A27EAC}"/>
          </ac:spMkLst>
        </pc:spChg>
        <pc:picChg chg="del">
          <ac:chgData name="Julien Koerber" userId="816e704f-9f28-481a-98cb-78078794ec7b" providerId="ADAL" clId="{67384873-A532-462E-9867-AD6E6DA1C56B}" dt="2025-03-25T12:09:06.223" v="1681" actId="478"/>
          <ac:picMkLst>
            <pc:docMk/>
            <pc:sldMk cId="787996660" sldId="2147483506"/>
            <ac:picMk id="1028" creationId="{032C65B0-F8CD-D92D-FA78-473408497B6A}"/>
          </ac:picMkLst>
        </pc:picChg>
      </pc:sldChg>
      <pc:sldChg chg="addSp delSp modSp add mod ord">
        <pc:chgData name="Julien Koerber" userId="816e704f-9f28-481a-98cb-78078794ec7b" providerId="ADAL" clId="{67384873-A532-462E-9867-AD6E6DA1C56B}" dt="2025-03-27T13:30:46.650" v="4607" actId="1076"/>
        <pc:sldMkLst>
          <pc:docMk/>
          <pc:sldMk cId="4246700711" sldId="2147483507"/>
        </pc:sldMkLst>
        <pc:spChg chg="mod">
          <ac:chgData name="Julien Koerber" userId="816e704f-9f28-481a-98cb-78078794ec7b" providerId="ADAL" clId="{67384873-A532-462E-9867-AD6E6DA1C56B}" dt="2025-03-27T13:30:27.006" v="4600" actId="20577"/>
          <ac:spMkLst>
            <pc:docMk/>
            <pc:sldMk cId="4246700711" sldId="2147483507"/>
            <ac:spMk id="2" creationId="{A8E88944-382E-C9EF-781F-8F2302F5FA03}"/>
          </ac:spMkLst>
        </pc:spChg>
        <pc:spChg chg="mod">
          <ac:chgData name="Julien Koerber" userId="816e704f-9f28-481a-98cb-78078794ec7b" providerId="ADAL" clId="{67384873-A532-462E-9867-AD6E6DA1C56B}" dt="2025-03-25T14:47:11.392" v="3537" actId="14100"/>
          <ac:spMkLst>
            <pc:docMk/>
            <pc:sldMk cId="4246700711" sldId="2147483507"/>
            <ac:spMk id="5" creationId="{1209BF82-0688-DB4A-CC0A-93EAB5A27EAC}"/>
          </ac:spMkLst>
        </pc:spChg>
        <pc:picChg chg="del">
          <ac:chgData name="Julien Koerber" userId="816e704f-9f28-481a-98cb-78078794ec7b" providerId="ADAL" clId="{67384873-A532-462E-9867-AD6E6DA1C56B}" dt="2025-03-25T13:39:33.457" v="3100" actId="478"/>
          <ac:picMkLst>
            <pc:docMk/>
            <pc:sldMk cId="4246700711" sldId="2147483507"/>
            <ac:picMk id="1028" creationId="{032C65B0-F8CD-D92D-FA78-473408497B6A}"/>
          </ac:picMkLst>
        </pc:picChg>
        <pc:picChg chg="add del mod">
          <ac:chgData name="Julien Koerber" userId="816e704f-9f28-481a-98cb-78078794ec7b" providerId="ADAL" clId="{67384873-A532-462E-9867-AD6E6DA1C56B}" dt="2025-03-25T13:43:05.078" v="3365" actId="478"/>
          <ac:picMkLst>
            <pc:docMk/>
            <pc:sldMk cId="4246700711" sldId="2147483507"/>
            <ac:picMk id="2050" creationId="{9AECB466-44EE-2E2C-2595-27EAFBEE3D31}"/>
          </ac:picMkLst>
        </pc:picChg>
        <pc:picChg chg="add mod">
          <ac:chgData name="Julien Koerber" userId="816e704f-9f28-481a-98cb-78078794ec7b" providerId="ADAL" clId="{67384873-A532-462E-9867-AD6E6DA1C56B}" dt="2025-03-26T12:35:18.806" v="3619" actId="1076"/>
          <ac:picMkLst>
            <pc:docMk/>
            <pc:sldMk cId="4246700711" sldId="2147483507"/>
            <ac:picMk id="2052" creationId="{710B26E2-623D-6974-EDAD-03967BF8EBE0}"/>
          </ac:picMkLst>
        </pc:picChg>
        <pc:picChg chg="add mod">
          <ac:chgData name="Julien Koerber" userId="816e704f-9f28-481a-98cb-78078794ec7b" providerId="ADAL" clId="{67384873-A532-462E-9867-AD6E6DA1C56B}" dt="2025-03-25T13:45:04.008" v="3379" actId="14100"/>
          <ac:picMkLst>
            <pc:docMk/>
            <pc:sldMk cId="4246700711" sldId="2147483507"/>
            <ac:picMk id="2054" creationId="{AE447F2D-8E78-921F-DEED-7EADDBBF99C2}"/>
          </ac:picMkLst>
        </pc:picChg>
        <pc:picChg chg="add mod">
          <ac:chgData name="Julien Koerber" userId="816e704f-9f28-481a-98cb-78078794ec7b" providerId="ADAL" clId="{67384873-A532-462E-9867-AD6E6DA1C56B}" dt="2025-03-26T12:35:15.251" v="3618" actId="1076"/>
          <ac:picMkLst>
            <pc:docMk/>
            <pc:sldMk cId="4246700711" sldId="2147483507"/>
            <ac:picMk id="2056" creationId="{FE42EC57-11E9-E730-1656-A5A37250AA3F}"/>
          </ac:picMkLst>
        </pc:picChg>
        <pc:picChg chg="add mod">
          <ac:chgData name="Julien Koerber" userId="816e704f-9f28-481a-98cb-78078794ec7b" providerId="ADAL" clId="{67384873-A532-462E-9867-AD6E6DA1C56B}" dt="2025-03-27T13:30:46.650" v="4607" actId="1076"/>
          <ac:picMkLst>
            <pc:docMk/>
            <pc:sldMk cId="4246700711" sldId="2147483507"/>
            <ac:picMk id="2058" creationId="{AF35EDDA-0958-E01F-0408-F24A468C67A2}"/>
          </ac:picMkLst>
        </pc:picChg>
        <pc:picChg chg="add mod">
          <ac:chgData name="Julien Koerber" userId="816e704f-9f28-481a-98cb-78078794ec7b" providerId="ADAL" clId="{67384873-A532-462E-9867-AD6E6DA1C56B}" dt="2025-03-27T13:30:39.754" v="4605" actId="1076"/>
          <ac:picMkLst>
            <pc:docMk/>
            <pc:sldMk cId="4246700711" sldId="2147483507"/>
            <ac:picMk id="2060" creationId="{7BDAD1A8-27AA-A0FF-4BC7-A733A0D86785}"/>
          </ac:picMkLst>
        </pc:picChg>
      </pc:sldChg>
      <pc:sldChg chg="addSp delSp modSp add mod modAnim">
        <pc:chgData name="Julien Koerber" userId="816e704f-9f28-481a-98cb-78078794ec7b" providerId="ADAL" clId="{67384873-A532-462E-9867-AD6E6DA1C56B}" dt="2025-03-27T13:47:55.073" v="4690" actId="1076"/>
        <pc:sldMkLst>
          <pc:docMk/>
          <pc:sldMk cId="165379209" sldId="2147483508"/>
        </pc:sldMkLst>
        <pc:spChg chg="add del mod">
          <ac:chgData name="Julien Koerber" userId="816e704f-9f28-481a-98cb-78078794ec7b" providerId="ADAL" clId="{67384873-A532-462E-9867-AD6E6DA1C56B}" dt="2025-03-27T13:45:56.726" v="4660" actId="478"/>
          <ac:spMkLst>
            <pc:docMk/>
            <pc:sldMk cId="165379209" sldId="2147483508"/>
            <ac:spMk id="2" creationId="{0E20E4EA-0F9D-8015-D9DE-E9A55F42D293}"/>
          </ac:spMkLst>
        </pc:spChg>
        <pc:spChg chg="mod">
          <ac:chgData name="Julien Koerber" userId="816e704f-9f28-481a-98cb-78078794ec7b" providerId="ADAL" clId="{67384873-A532-462E-9867-AD6E6DA1C56B}" dt="2025-03-25T14:26:13.077" v="3481" actId="313"/>
          <ac:spMkLst>
            <pc:docMk/>
            <pc:sldMk cId="165379209" sldId="2147483508"/>
            <ac:spMk id="5" creationId="{31778FF3-693E-51A9-2D9F-1F47B7A22525}"/>
          </ac:spMkLst>
        </pc:spChg>
        <pc:spChg chg="add mod">
          <ac:chgData name="Julien Koerber" userId="816e704f-9f28-481a-98cb-78078794ec7b" providerId="ADAL" clId="{67384873-A532-462E-9867-AD6E6DA1C56B}" dt="2025-03-27T13:47:16.094" v="4675" actId="1076"/>
          <ac:spMkLst>
            <pc:docMk/>
            <pc:sldMk cId="165379209" sldId="2147483508"/>
            <ac:spMk id="7" creationId="{D76FF6CD-F74B-0872-AA57-CE2F14921D35}"/>
          </ac:spMkLst>
        </pc:spChg>
        <pc:spChg chg="add del mod">
          <ac:chgData name="Julien Koerber" userId="816e704f-9f28-481a-98cb-78078794ec7b" providerId="ADAL" clId="{67384873-A532-462E-9867-AD6E6DA1C56B}" dt="2025-03-27T13:46:39.896" v="4670" actId="478"/>
          <ac:spMkLst>
            <pc:docMk/>
            <pc:sldMk cId="165379209" sldId="2147483508"/>
            <ac:spMk id="8" creationId="{0EFCBFBB-976E-002D-E1C3-62EEBADDF3D0}"/>
          </ac:spMkLst>
        </pc:spChg>
        <pc:spChg chg="add mod">
          <ac:chgData name="Julien Koerber" userId="816e704f-9f28-481a-98cb-78078794ec7b" providerId="ADAL" clId="{67384873-A532-462E-9867-AD6E6DA1C56B}" dt="2025-03-27T13:46:57.054" v="4674" actId="207"/>
          <ac:spMkLst>
            <pc:docMk/>
            <pc:sldMk cId="165379209" sldId="2147483508"/>
            <ac:spMk id="9" creationId="{66E7C290-9D29-288C-1EBD-9476C22C3B6D}"/>
          </ac:spMkLst>
        </pc:spChg>
        <pc:spChg chg="add mod">
          <ac:chgData name="Julien Koerber" userId="816e704f-9f28-481a-98cb-78078794ec7b" providerId="ADAL" clId="{67384873-A532-462E-9867-AD6E6DA1C56B}" dt="2025-03-27T13:47:29.926" v="4676"/>
          <ac:spMkLst>
            <pc:docMk/>
            <pc:sldMk cId="165379209" sldId="2147483508"/>
            <ac:spMk id="10" creationId="{7A21EF6C-8F93-389A-B2D2-5DECEEBADA9E}"/>
          </ac:spMkLst>
        </pc:spChg>
        <pc:spChg chg="add mod">
          <ac:chgData name="Julien Koerber" userId="816e704f-9f28-481a-98cb-78078794ec7b" providerId="ADAL" clId="{67384873-A532-462E-9867-AD6E6DA1C56B}" dt="2025-03-27T13:47:47.798" v="4688" actId="1076"/>
          <ac:spMkLst>
            <pc:docMk/>
            <pc:sldMk cId="165379209" sldId="2147483508"/>
            <ac:spMk id="11" creationId="{4909BC5B-2FD7-FD80-9CBD-0791FABD6878}"/>
          </ac:spMkLst>
        </pc:spChg>
        <pc:spChg chg="mod">
          <ac:chgData name="Julien Koerber" userId="816e704f-9f28-481a-98cb-78078794ec7b" providerId="ADAL" clId="{67384873-A532-462E-9867-AD6E6DA1C56B}" dt="2025-03-27T13:47:55.073" v="4690" actId="1076"/>
          <ac:spMkLst>
            <pc:docMk/>
            <pc:sldMk cId="165379209" sldId="2147483508"/>
            <ac:spMk id="20" creationId="{0B4AD614-F81C-F9AD-E36F-EBCCE0DE5831}"/>
          </ac:spMkLst>
        </pc:spChg>
        <pc:picChg chg="add mod">
          <ac:chgData name="Julien Koerber" userId="816e704f-9f28-481a-98cb-78078794ec7b" providerId="ADAL" clId="{67384873-A532-462E-9867-AD6E6DA1C56B}" dt="2025-03-27T13:47:16.094" v="4675" actId="1076"/>
          <ac:picMkLst>
            <pc:docMk/>
            <pc:sldMk cId="165379209" sldId="2147483508"/>
            <ac:picMk id="3" creationId="{7749A770-7889-2359-FFA1-6CE72A609D28}"/>
          </ac:picMkLst>
        </pc:picChg>
        <pc:picChg chg="add mod">
          <ac:chgData name="Julien Koerber" userId="816e704f-9f28-481a-98cb-78078794ec7b" providerId="ADAL" clId="{67384873-A532-462E-9867-AD6E6DA1C56B}" dt="2025-03-27T13:47:16.094" v="4675" actId="1076"/>
          <ac:picMkLst>
            <pc:docMk/>
            <pc:sldMk cId="165379209" sldId="2147483508"/>
            <ac:picMk id="6" creationId="{668C88C9-BC4C-9428-3A1C-2490E70D45D3}"/>
          </ac:picMkLst>
        </pc:picChg>
        <pc:picChg chg="mod">
          <ac:chgData name="Julien Koerber" userId="816e704f-9f28-481a-98cb-78078794ec7b" providerId="ADAL" clId="{67384873-A532-462E-9867-AD6E6DA1C56B}" dt="2025-03-27T13:45:59.370" v="4661" actId="1076"/>
          <ac:picMkLst>
            <pc:docMk/>
            <pc:sldMk cId="165379209" sldId="2147483508"/>
            <ac:picMk id="13" creationId="{67D4AABD-4362-1B85-92E3-E590ED15630D}"/>
          </ac:picMkLst>
        </pc:picChg>
        <pc:picChg chg="mod">
          <ac:chgData name="Julien Koerber" userId="816e704f-9f28-481a-98cb-78078794ec7b" providerId="ADAL" clId="{67384873-A532-462E-9867-AD6E6DA1C56B}" dt="2025-03-27T13:46:24.115" v="4664" actId="1076"/>
          <ac:picMkLst>
            <pc:docMk/>
            <pc:sldMk cId="165379209" sldId="2147483508"/>
            <ac:picMk id="17" creationId="{26A58243-15DD-950F-D42C-3B7D127EB6B0}"/>
          </ac:picMkLst>
        </pc:picChg>
      </pc:sldChg>
      <pc:sldChg chg="add del">
        <pc:chgData name="Julien Koerber" userId="816e704f-9f28-481a-98cb-78078794ec7b" providerId="ADAL" clId="{67384873-A532-462E-9867-AD6E6DA1C56B}" dt="2025-03-25T14:21:35.011" v="3398"/>
        <pc:sldMkLst>
          <pc:docMk/>
          <pc:sldMk cId="1955132548" sldId="2147483509"/>
        </pc:sldMkLst>
      </pc:sldChg>
      <pc:sldChg chg="modSp add del mod ord">
        <pc:chgData name="Julien Koerber" userId="816e704f-9f28-481a-98cb-78078794ec7b" providerId="ADAL" clId="{67384873-A532-462E-9867-AD6E6DA1C56B}" dt="2025-03-25T15:10:25.923" v="3576" actId="2696"/>
        <pc:sldMkLst>
          <pc:docMk/>
          <pc:sldMk cId="1984684279" sldId="2147483509"/>
        </pc:sldMkLst>
        <pc:spChg chg="mod">
          <ac:chgData name="Julien Koerber" userId="816e704f-9f28-481a-98cb-78078794ec7b" providerId="ADAL" clId="{67384873-A532-462E-9867-AD6E6DA1C56B}" dt="2025-03-25T15:10:25.724" v="3573" actId="12"/>
          <ac:spMkLst>
            <pc:docMk/>
            <pc:sldMk cId="1984684279" sldId="2147483509"/>
            <ac:spMk id="8" creationId="{00000000-0000-0000-0000-000000000000}"/>
          </ac:spMkLst>
        </pc:spChg>
      </pc:sldChg>
      <pc:sldChg chg="modSp add del mod ord">
        <pc:chgData name="Julien Koerber" userId="816e704f-9f28-481a-98cb-78078794ec7b" providerId="ADAL" clId="{67384873-A532-462E-9867-AD6E6DA1C56B}" dt="2025-03-25T15:10:18.419" v="3571"/>
        <pc:sldMkLst>
          <pc:docMk/>
          <pc:sldMk cId="2931268386" sldId="2147483510"/>
        </pc:sldMkLst>
        <pc:spChg chg="mod">
          <ac:chgData name="Julien Koerber" userId="816e704f-9f28-481a-98cb-78078794ec7b" providerId="ADAL" clId="{67384873-A532-462E-9867-AD6E6DA1C56B}" dt="2025-03-25T15:10:18.145" v="3569" actId="20577"/>
          <ac:spMkLst>
            <pc:docMk/>
            <pc:sldMk cId="2931268386" sldId="2147483510"/>
            <ac:spMk id="8" creationId="{00000000-0000-0000-0000-000000000000}"/>
          </ac:spMkLst>
        </pc:spChg>
      </pc:sldChg>
      <pc:sldChg chg="modSp add del mod ord">
        <pc:chgData name="Julien Koerber" userId="816e704f-9f28-481a-98cb-78078794ec7b" providerId="ADAL" clId="{67384873-A532-462E-9867-AD6E6DA1C56B}" dt="2025-03-25T15:10:31.891" v="3583" actId="2696"/>
        <pc:sldMkLst>
          <pc:docMk/>
          <pc:sldMk cId="3918325356" sldId="2147483510"/>
        </pc:sldMkLst>
        <pc:spChg chg="mod">
          <ac:chgData name="Julien Koerber" userId="816e704f-9f28-481a-98cb-78078794ec7b" providerId="ADAL" clId="{67384873-A532-462E-9867-AD6E6DA1C56B}" dt="2025-03-25T15:10:31.670" v="3580" actId="12"/>
          <ac:spMkLst>
            <pc:docMk/>
            <pc:sldMk cId="3918325356" sldId="2147483510"/>
            <ac:spMk id="8" creationId="{00000000-0000-0000-0000-000000000000}"/>
          </ac:spMkLst>
        </pc:spChg>
      </pc:sldChg>
      <pc:sldChg chg="modSp add mod ord">
        <pc:chgData name="Julien Koerber" userId="816e704f-9f28-481a-98cb-78078794ec7b" providerId="ADAL" clId="{67384873-A532-462E-9867-AD6E6DA1C56B}" dt="2025-03-27T08:41:38.546" v="4285" actId="20577"/>
        <pc:sldMkLst>
          <pc:docMk/>
          <pc:sldMk cId="1558958984" sldId="2147483511"/>
        </pc:sldMkLst>
        <pc:spChg chg="mod">
          <ac:chgData name="Julien Koerber" userId="816e704f-9f28-481a-98cb-78078794ec7b" providerId="ADAL" clId="{67384873-A532-462E-9867-AD6E6DA1C56B}" dt="2025-03-27T08:41:38.546" v="4285" actId="20577"/>
          <ac:spMkLst>
            <pc:docMk/>
            <pc:sldMk cId="1558958984" sldId="2147483511"/>
            <ac:spMk id="8" creationId="{00000000-0000-0000-0000-000000000000}"/>
          </ac:spMkLst>
        </pc:spChg>
      </pc:sldChg>
      <pc:sldChg chg="add del ord">
        <pc:chgData name="Julien Koerber" userId="816e704f-9f28-481a-98cb-78078794ec7b" providerId="ADAL" clId="{67384873-A532-462E-9867-AD6E6DA1C56B}" dt="2025-03-26T13:35:15.329" v="3844" actId="47"/>
        <pc:sldMkLst>
          <pc:docMk/>
          <pc:sldMk cId="642448413" sldId="2147483512"/>
        </pc:sldMkLst>
      </pc:sldChg>
      <pc:sldChg chg="add del ord">
        <pc:chgData name="Julien Koerber" userId="816e704f-9f28-481a-98cb-78078794ec7b" providerId="ADAL" clId="{67384873-A532-462E-9867-AD6E6DA1C56B}" dt="2025-03-26T12:36:52.955" v="3642"/>
        <pc:sldMkLst>
          <pc:docMk/>
          <pc:sldMk cId="1865829295" sldId="2147483512"/>
        </pc:sldMkLst>
      </pc:sldChg>
      <pc:sldChg chg="modSp add del mod ord">
        <pc:chgData name="Julien Koerber" userId="816e704f-9f28-481a-98cb-78078794ec7b" providerId="ADAL" clId="{67384873-A532-462E-9867-AD6E6DA1C56B}" dt="2025-03-26T12:37:05.469" v="3659"/>
        <pc:sldMkLst>
          <pc:docMk/>
          <pc:sldMk cId="2297358399" sldId="2147483512"/>
        </pc:sldMkLst>
        <pc:spChg chg="mod">
          <ac:chgData name="Julien Koerber" userId="816e704f-9f28-481a-98cb-78078794ec7b" providerId="ADAL" clId="{67384873-A532-462E-9867-AD6E6DA1C56B}" dt="2025-03-26T12:37:05.044" v="3657" actId="20577"/>
          <ac:spMkLst>
            <pc:docMk/>
            <pc:sldMk cId="2297358399" sldId="2147483512"/>
            <ac:spMk id="25" creationId="{00000000-0000-0000-0000-000000000000}"/>
          </ac:spMkLst>
        </pc:spChg>
      </pc:sldChg>
      <pc:sldChg chg="delSp modSp new mod ord">
        <pc:chgData name="Julien Koerber" userId="816e704f-9f28-481a-98cb-78078794ec7b" providerId="ADAL" clId="{67384873-A532-462E-9867-AD6E6DA1C56B}" dt="2025-03-27T13:49:38.342" v="4693" actId="20577"/>
        <pc:sldMkLst>
          <pc:docMk/>
          <pc:sldMk cId="3397915076" sldId="2147483512"/>
        </pc:sldMkLst>
        <pc:spChg chg="del">
          <ac:chgData name="Julien Koerber" userId="816e704f-9f28-481a-98cb-78078794ec7b" providerId="ADAL" clId="{67384873-A532-462E-9867-AD6E6DA1C56B}" dt="2025-03-26T14:20:36.910" v="3990" actId="478"/>
          <ac:spMkLst>
            <pc:docMk/>
            <pc:sldMk cId="3397915076" sldId="2147483512"/>
            <ac:spMk id="2" creationId="{F9435706-9D30-E02A-B1CA-C390EB260994}"/>
          </ac:spMkLst>
        </pc:spChg>
        <pc:spChg chg="del">
          <ac:chgData name="Julien Koerber" userId="816e704f-9f28-481a-98cb-78078794ec7b" providerId="ADAL" clId="{67384873-A532-462E-9867-AD6E6DA1C56B}" dt="2025-03-26T14:20:39.389" v="3991" actId="478"/>
          <ac:spMkLst>
            <pc:docMk/>
            <pc:sldMk cId="3397915076" sldId="2147483512"/>
            <ac:spMk id="3" creationId="{5E6AA7B6-1149-5653-7B31-E03EF9C3E1F5}"/>
          </ac:spMkLst>
        </pc:spChg>
        <pc:spChg chg="mod">
          <ac:chgData name="Julien Koerber" userId="816e704f-9f28-481a-98cb-78078794ec7b" providerId="ADAL" clId="{67384873-A532-462E-9867-AD6E6DA1C56B}" dt="2025-03-27T13:49:38.342" v="4693" actId="20577"/>
          <ac:spMkLst>
            <pc:docMk/>
            <pc:sldMk cId="3397915076" sldId="2147483512"/>
            <ac:spMk id="4" creationId="{55F40235-2E5C-2AF3-BA43-EDDCD7AB42DD}"/>
          </ac:spMkLst>
        </pc:spChg>
      </pc:sldChg>
      <pc:sldChg chg="addSp delSp modSp add mod ord modAnim">
        <pc:chgData name="Julien Koerber" userId="816e704f-9f28-481a-98cb-78078794ec7b" providerId="ADAL" clId="{67384873-A532-462E-9867-AD6E6DA1C56B}" dt="2025-03-27T13:19:21.689" v="4573" actId="1076"/>
        <pc:sldMkLst>
          <pc:docMk/>
          <pc:sldMk cId="3177206996" sldId="2147483513"/>
        </pc:sldMkLst>
        <pc:spChg chg="add mod">
          <ac:chgData name="Julien Koerber" userId="816e704f-9f28-481a-98cb-78078794ec7b" providerId="ADAL" clId="{67384873-A532-462E-9867-AD6E6DA1C56B}" dt="2025-03-27T10:40:49.435" v="4480" actId="1076"/>
          <ac:spMkLst>
            <pc:docMk/>
            <pc:sldMk cId="3177206996" sldId="2147483513"/>
            <ac:spMk id="3" creationId="{D05C374F-8EE7-7BEB-1488-DBE6650915FB}"/>
          </ac:spMkLst>
        </pc:spChg>
        <pc:spChg chg="del mod">
          <ac:chgData name="Julien Koerber" userId="816e704f-9f28-481a-98cb-78078794ec7b" providerId="ADAL" clId="{67384873-A532-462E-9867-AD6E6DA1C56B}" dt="2025-03-26T14:43:51.823" v="3997" actId="478"/>
          <ac:spMkLst>
            <pc:docMk/>
            <pc:sldMk cId="3177206996" sldId="2147483513"/>
            <ac:spMk id="4" creationId="{1D299F93-F177-8703-7C5A-667E30618BA7}"/>
          </ac:spMkLst>
        </pc:spChg>
        <pc:spChg chg="add mod">
          <ac:chgData name="Julien Koerber" userId="816e704f-9f28-481a-98cb-78078794ec7b" providerId="ADAL" clId="{67384873-A532-462E-9867-AD6E6DA1C56B}" dt="2025-03-27T13:19:21.689" v="4573" actId="1076"/>
          <ac:spMkLst>
            <pc:docMk/>
            <pc:sldMk cId="3177206996" sldId="2147483513"/>
            <ac:spMk id="4" creationId="{4DCFBC43-BBCE-671C-59FF-2C5774201CD4}"/>
          </ac:spMkLst>
        </pc:spChg>
        <pc:spChg chg="del mod">
          <ac:chgData name="Julien Koerber" userId="816e704f-9f28-481a-98cb-78078794ec7b" providerId="ADAL" clId="{67384873-A532-462E-9867-AD6E6DA1C56B}" dt="2025-03-26T13:36:57.475" v="3867" actId="478"/>
          <ac:spMkLst>
            <pc:docMk/>
            <pc:sldMk cId="3177206996" sldId="2147483513"/>
            <ac:spMk id="5" creationId="{31778FF3-693E-51A9-2D9F-1F47B7A22525}"/>
          </ac:spMkLst>
        </pc:spChg>
        <pc:spChg chg="add mod">
          <ac:chgData name="Julien Koerber" userId="816e704f-9f28-481a-98cb-78078794ec7b" providerId="ADAL" clId="{67384873-A532-462E-9867-AD6E6DA1C56B}" dt="2025-03-27T10:40:49.435" v="4480" actId="1076"/>
          <ac:spMkLst>
            <pc:docMk/>
            <pc:sldMk cId="3177206996" sldId="2147483513"/>
            <ac:spMk id="6" creationId="{B9CE0E9B-B848-EDF6-931A-E026C1974A56}"/>
          </ac:spMkLst>
        </pc:spChg>
        <pc:spChg chg="add mod">
          <ac:chgData name="Julien Koerber" userId="816e704f-9f28-481a-98cb-78078794ec7b" providerId="ADAL" clId="{67384873-A532-462E-9867-AD6E6DA1C56B}" dt="2025-03-27T10:40:49.435" v="4480" actId="1076"/>
          <ac:spMkLst>
            <pc:docMk/>
            <pc:sldMk cId="3177206996" sldId="2147483513"/>
            <ac:spMk id="7" creationId="{39407709-C600-FE2A-5DCF-03ECEAF167A4}"/>
          </ac:spMkLst>
        </pc:spChg>
        <pc:spChg chg="add mod">
          <ac:chgData name="Julien Koerber" userId="816e704f-9f28-481a-98cb-78078794ec7b" providerId="ADAL" clId="{67384873-A532-462E-9867-AD6E6DA1C56B}" dt="2025-03-27T10:40:49.435" v="4480" actId="1076"/>
          <ac:spMkLst>
            <pc:docMk/>
            <pc:sldMk cId="3177206996" sldId="2147483513"/>
            <ac:spMk id="8" creationId="{44397697-A3E0-8461-89F5-187D4DE5FADA}"/>
          </ac:spMkLst>
        </pc:spChg>
        <pc:spChg chg="add mod">
          <ac:chgData name="Julien Koerber" userId="816e704f-9f28-481a-98cb-78078794ec7b" providerId="ADAL" clId="{67384873-A532-462E-9867-AD6E6DA1C56B}" dt="2025-03-27T10:40:49.435" v="4480" actId="1076"/>
          <ac:spMkLst>
            <pc:docMk/>
            <pc:sldMk cId="3177206996" sldId="2147483513"/>
            <ac:spMk id="9" creationId="{6295BCA2-08BC-A83F-62BD-BEA03EAE3164}"/>
          </ac:spMkLst>
        </pc:spChg>
        <pc:spChg chg="add mod">
          <ac:chgData name="Julien Koerber" userId="816e704f-9f28-481a-98cb-78078794ec7b" providerId="ADAL" clId="{67384873-A532-462E-9867-AD6E6DA1C56B}" dt="2025-03-27T10:40:49.435" v="4480" actId="1076"/>
          <ac:spMkLst>
            <pc:docMk/>
            <pc:sldMk cId="3177206996" sldId="2147483513"/>
            <ac:spMk id="10" creationId="{7E64156F-8C18-8193-0B54-624EAAAF4594}"/>
          </ac:spMkLst>
        </pc:spChg>
        <pc:spChg chg="add mod">
          <ac:chgData name="Julien Koerber" userId="816e704f-9f28-481a-98cb-78078794ec7b" providerId="ADAL" clId="{67384873-A532-462E-9867-AD6E6DA1C56B}" dt="2025-03-26T14:46:20.662" v="4068"/>
          <ac:spMkLst>
            <pc:docMk/>
            <pc:sldMk cId="3177206996" sldId="2147483513"/>
            <ac:spMk id="12" creationId="{DB2A576A-8E4E-9B3D-D2C1-2CF5B93C2D92}"/>
          </ac:spMkLst>
        </pc:spChg>
        <pc:spChg chg="add mod">
          <ac:chgData name="Julien Koerber" userId="816e704f-9f28-481a-98cb-78078794ec7b" providerId="ADAL" clId="{67384873-A532-462E-9867-AD6E6DA1C56B}" dt="2025-03-26T14:46:20.849" v="4069"/>
          <ac:spMkLst>
            <pc:docMk/>
            <pc:sldMk cId="3177206996" sldId="2147483513"/>
            <ac:spMk id="13" creationId="{D56D85B8-8716-1914-669B-DC83370B30A7}"/>
          </ac:spMkLst>
        </pc:spChg>
        <pc:spChg chg="add mod">
          <ac:chgData name="Julien Koerber" userId="816e704f-9f28-481a-98cb-78078794ec7b" providerId="ADAL" clId="{67384873-A532-462E-9867-AD6E6DA1C56B}" dt="2025-03-26T14:46:29.117" v="4076" actId="1076"/>
          <ac:spMkLst>
            <pc:docMk/>
            <pc:sldMk cId="3177206996" sldId="2147483513"/>
            <ac:spMk id="14" creationId="{3ADAF847-5635-DF7A-CE23-67D702CEAEBE}"/>
          </ac:spMkLst>
        </pc:spChg>
        <pc:spChg chg="add mod">
          <ac:chgData name="Julien Koerber" userId="816e704f-9f28-481a-98cb-78078794ec7b" providerId="ADAL" clId="{67384873-A532-462E-9867-AD6E6DA1C56B}" dt="2025-03-27T10:40:49.435" v="4480" actId="1076"/>
          <ac:spMkLst>
            <pc:docMk/>
            <pc:sldMk cId="3177206996" sldId="2147483513"/>
            <ac:spMk id="15" creationId="{7500026B-C51D-AB36-2B01-F5365B81FF7A}"/>
          </ac:spMkLst>
        </pc:spChg>
        <pc:spChg chg="add mod">
          <ac:chgData name="Julien Koerber" userId="816e704f-9f28-481a-98cb-78078794ec7b" providerId="ADAL" clId="{67384873-A532-462E-9867-AD6E6DA1C56B}" dt="2025-03-27T10:40:49.435" v="4480" actId="1076"/>
          <ac:spMkLst>
            <pc:docMk/>
            <pc:sldMk cId="3177206996" sldId="2147483513"/>
            <ac:spMk id="16" creationId="{1A4C5E02-E48D-D6B3-8B7D-BAC53334A8A8}"/>
          </ac:spMkLst>
        </pc:spChg>
        <pc:spChg chg="add mod">
          <ac:chgData name="Julien Koerber" userId="816e704f-9f28-481a-98cb-78078794ec7b" providerId="ADAL" clId="{67384873-A532-462E-9867-AD6E6DA1C56B}" dt="2025-03-27T10:40:49.435" v="4480" actId="1076"/>
          <ac:spMkLst>
            <pc:docMk/>
            <pc:sldMk cId="3177206996" sldId="2147483513"/>
            <ac:spMk id="17" creationId="{5405ED11-A6B3-6D10-3B7E-8EBD57F05CAB}"/>
          </ac:spMkLst>
        </pc:spChg>
        <pc:spChg chg="add mod">
          <ac:chgData name="Julien Koerber" userId="816e704f-9f28-481a-98cb-78078794ec7b" providerId="ADAL" clId="{67384873-A532-462E-9867-AD6E6DA1C56B}" dt="2025-03-27T10:40:00.303" v="4475" actId="1076"/>
          <ac:spMkLst>
            <pc:docMk/>
            <pc:sldMk cId="3177206996" sldId="2147483513"/>
            <ac:spMk id="20" creationId="{1DBFADAB-7F01-1FB0-B896-F80E50D82E95}"/>
          </ac:spMkLst>
        </pc:spChg>
        <pc:spChg chg="add mod">
          <ac:chgData name="Julien Koerber" userId="816e704f-9f28-481a-98cb-78078794ec7b" providerId="ADAL" clId="{67384873-A532-462E-9867-AD6E6DA1C56B}" dt="2025-03-27T10:40:00.303" v="4475" actId="1076"/>
          <ac:spMkLst>
            <pc:docMk/>
            <pc:sldMk cId="3177206996" sldId="2147483513"/>
            <ac:spMk id="22" creationId="{6419D701-0332-CA04-CC3A-63A82BFEA778}"/>
          </ac:spMkLst>
        </pc:spChg>
        <pc:spChg chg="add mod">
          <ac:chgData name="Julien Koerber" userId="816e704f-9f28-481a-98cb-78078794ec7b" providerId="ADAL" clId="{67384873-A532-462E-9867-AD6E6DA1C56B}" dt="2025-03-27T10:41:16.910" v="4483" actId="1076"/>
          <ac:spMkLst>
            <pc:docMk/>
            <pc:sldMk cId="3177206996" sldId="2147483513"/>
            <ac:spMk id="23" creationId="{4A2911F4-5E8C-3CB0-CE80-C71E50E2581F}"/>
          </ac:spMkLst>
        </pc:spChg>
        <pc:picChg chg="add del mod">
          <ac:chgData name="Julien Koerber" userId="816e704f-9f28-481a-98cb-78078794ec7b" providerId="ADAL" clId="{67384873-A532-462E-9867-AD6E6DA1C56B}" dt="2025-03-27T10:42:05.601" v="4484" actId="478"/>
          <ac:picMkLst>
            <pc:docMk/>
            <pc:sldMk cId="3177206996" sldId="2147483513"/>
            <ac:picMk id="2" creationId="{230AB7FF-0EDC-8BA5-EFA7-09F3FEE2190B}"/>
          </ac:picMkLst>
        </pc:picChg>
        <pc:picChg chg="del">
          <ac:chgData name="Julien Koerber" userId="816e704f-9f28-481a-98cb-78078794ec7b" providerId="ADAL" clId="{67384873-A532-462E-9867-AD6E6DA1C56B}" dt="2025-03-26T13:36:45.294" v="3865" actId="478"/>
          <ac:picMkLst>
            <pc:docMk/>
            <pc:sldMk cId="3177206996" sldId="2147483513"/>
            <ac:picMk id="11" creationId="{50690E02-E59B-3D5C-4DE7-66AA42789563}"/>
          </ac:picMkLst>
        </pc:picChg>
        <pc:picChg chg="add del mod">
          <ac:chgData name="Julien Koerber" userId="816e704f-9f28-481a-98cb-78078794ec7b" providerId="ADAL" clId="{67384873-A532-462E-9867-AD6E6DA1C56B}" dt="2025-03-26T14:51:33.730" v="4126" actId="478"/>
          <ac:picMkLst>
            <pc:docMk/>
            <pc:sldMk cId="3177206996" sldId="2147483513"/>
            <ac:picMk id="19" creationId="{079641E4-F345-0D29-507D-F4057D50B8F3}"/>
          </ac:picMkLst>
        </pc:picChg>
        <pc:picChg chg="add mod">
          <ac:chgData name="Julien Koerber" userId="816e704f-9f28-481a-98cb-78078794ec7b" providerId="ADAL" clId="{67384873-A532-462E-9867-AD6E6DA1C56B}" dt="2025-03-27T10:40:49.435" v="4480" actId="1076"/>
          <ac:picMkLst>
            <pc:docMk/>
            <pc:sldMk cId="3177206996" sldId="2147483513"/>
            <ac:picMk id="1026" creationId="{15A45BF8-5D75-D541-9E17-1D41F1505B5D}"/>
          </ac:picMkLst>
        </pc:picChg>
        <pc:picChg chg="add mod">
          <ac:chgData name="Julien Koerber" userId="816e704f-9f28-481a-98cb-78078794ec7b" providerId="ADAL" clId="{67384873-A532-462E-9867-AD6E6DA1C56B}" dt="2025-03-27T10:41:16.910" v="4483" actId="1076"/>
          <ac:picMkLst>
            <pc:docMk/>
            <pc:sldMk cId="3177206996" sldId="2147483513"/>
            <ac:picMk id="1028" creationId="{FA29409D-4AA1-DC4F-3918-218AAADB3CF0}"/>
          </ac:picMkLst>
        </pc:picChg>
        <pc:picChg chg="add del mod">
          <ac:chgData name="Julien Koerber" userId="816e704f-9f28-481a-98cb-78078794ec7b" providerId="ADAL" clId="{67384873-A532-462E-9867-AD6E6DA1C56B}" dt="2025-03-27T10:40:00.303" v="4475" actId="1076"/>
          <ac:picMkLst>
            <pc:docMk/>
            <pc:sldMk cId="3177206996" sldId="2147483513"/>
            <ac:picMk id="1030" creationId="{F6D0E586-B604-EC37-7E9E-C6C1CB69DE08}"/>
          </ac:picMkLst>
        </pc:picChg>
        <pc:picChg chg="add mod">
          <ac:chgData name="Julien Koerber" userId="816e704f-9f28-481a-98cb-78078794ec7b" providerId="ADAL" clId="{67384873-A532-462E-9867-AD6E6DA1C56B}" dt="2025-03-27T10:40:00.303" v="4475" actId="1076"/>
          <ac:picMkLst>
            <pc:docMk/>
            <pc:sldMk cId="3177206996" sldId="2147483513"/>
            <ac:picMk id="1032" creationId="{2B93DC63-7888-1551-F404-11160CDDECD9}"/>
          </ac:picMkLst>
        </pc:picChg>
        <pc:picChg chg="add mod">
          <ac:chgData name="Julien Koerber" userId="816e704f-9f28-481a-98cb-78078794ec7b" providerId="ADAL" clId="{67384873-A532-462E-9867-AD6E6DA1C56B}" dt="2025-03-27T10:44:43.927" v="4521" actId="1076"/>
          <ac:picMkLst>
            <pc:docMk/>
            <pc:sldMk cId="3177206996" sldId="2147483513"/>
            <ac:picMk id="3074" creationId="{F9BED1B6-9ED4-1325-2379-73A31400C556}"/>
          </ac:picMkLst>
        </pc:picChg>
        <pc:cxnChg chg="add mod">
          <ac:chgData name="Julien Koerber" userId="816e704f-9f28-481a-98cb-78078794ec7b" providerId="ADAL" clId="{67384873-A532-462E-9867-AD6E6DA1C56B}" dt="2025-03-27T10:51:57.036" v="4534" actId="14100"/>
          <ac:cxnSpMkLst>
            <pc:docMk/>
            <pc:sldMk cId="3177206996" sldId="2147483513"/>
            <ac:cxnSpMk id="11" creationId="{961C71A6-256B-9809-9E62-BD017F63DA24}"/>
          </ac:cxnSpMkLst>
        </pc:cxnChg>
        <pc:cxnChg chg="add mod">
          <ac:chgData name="Julien Koerber" userId="816e704f-9f28-481a-98cb-78078794ec7b" providerId="ADAL" clId="{67384873-A532-462E-9867-AD6E6DA1C56B}" dt="2025-03-27T10:40:03.173" v="4477" actId="1076"/>
          <ac:cxnSpMkLst>
            <pc:docMk/>
            <pc:sldMk cId="3177206996" sldId="2147483513"/>
            <ac:cxnSpMk id="14" creationId="{ADDAED5B-0C2E-FCC0-FB3C-CFA2F4A69BA2}"/>
          </ac:cxnSpMkLst>
        </pc:cxnChg>
      </pc:sldChg>
      <pc:sldChg chg="addSp delSp modSp new del mod modAnim">
        <pc:chgData name="Julien Koerber" userId="816e704f-9f28-481a-98cb-78078794ec7b" providerId="ADAL" clId="{67384873-A532-462E-9867-AD6E6DA1C56B}" dt="2025-03-27T13:46:07.064" v="4663" actId="2696"/>
        <pc:sldMkLst>
          <pc:docMk/>
          <pc:sldMk cId="103697919" sldId="2147483514"/>
        </pc:sldMkLst>
        <pc:spChg chg="del">
          <ac:chgData name="Julien Koerber" userId="816e704f-9f28-481a-98cb-78078794ec7b" providerId="ADAL" clId="{67384873-A532-462E-9867-AD6E6DA1C56B}" dt="2025-03-27T13:42:39.512" v="4620" actId="478"/>
          <ac:spMkLst>
            <pc:docMk/>
            <pc:sldMk cId="103697919" sldId="2147483514"/>
            <ac:spMk id="2" creationId="{D83EF711-35B5-2BB9-F4B5-7B78E5B8D537}"/>
          </ac:spMkLst>
        </pc:spChg>
        <pc:spChg chg="mod">
          <ac:chgData name="Julien Koerber" userId="816e704f-9f28-481a-98cb-78078794ec7b" providerId="ADAL" clId="{67384873-A532-462E-9867-AD6E6DA1C56B}" dt="2025-03-27T13:42:19.484" v="4617"/>
          <ac:spMkLst>
            <pc:docMk/>
            <pc:sldMk cId="103697919" sldId="2147483514"/>
            <ac:spMk id="3" creationId="{AE91FB9E-0D06-26E0-68FA-BB308DF26822}"/>
          </ac:spMkLst>
        </pc:spChg>
        <pc:spChg chg="mod">
          <ac:chgData name="Julien Koerber" userId="816e704f-9f28-481a-98cb-78078794ec7b" providerId="ADAL" clId="{67384873-A532-462E-9867-AD6E6DA1C56B}" dt="2025-03-27T13:42:24.870" v="4618"/>
          <ac:spMkLst>
            <pc:docMk/>
            <pc:sldMk cId="103697919" sldId="2147483514"/>
            <ac:spMk id="4" creationId="{C84C3D06-CB41-A785-0380-7EC297307AFA}"/>
          </ac:spMkLst>
        </pc:spChg>
        <pc:spChg chg="add">
          <ac:chgData name="Julien Koerber" userId="816e704f-9f28-481a-98cb-78078794ec7b" providerId="ADAL" clId="{67384873-A532-462E-9867-AD6E6DA1C56B}" dt="2025-03-27T13:42:31.881" v="4619"/>
          <ac:spMkLst>
            <pc:docMk/>
            <pc:sldMk cId="103697919" sldId="2147483514"/>
            <ac:spMk id="5" creationId="{ABAFFD45-A155-23B4-3B1F-751F24C3AE0A}"/>
          </ac:spMkLst>
        </pc:spChg>
        <pc:spChg chg="add">
          <ac:chgData name="Julien Koerber" userId="816e704f-9f28-481a-98cb-78078794ec7b" providerId="ADAL" clId="{67384873-A532-462E-9867-AD6E6DA1C56B}" dt="2025-03-27T13:42:40.895" v="4621"/>
          <ac:spMkLst>
            <pc:docMk/>
            <pc:sldMk cId="103697919" sldId="2147483514"/>
            <ac:spMk id="6" creationId="{DD3A80BD-C684-C140-028F-8779DADFA346}"/>
          </ac:spMkLst>
        </pc:spChg>
        <pc:spChg chg="add">
          <ac:chgData name="Julien Koerber" userId="816e704f-9f28-481a-98cb-78078794ec7b" providerId="ADAL" clId="{67384873-A532-462E-9867-AD6E6DA1C56B}" dt="2025-03-27T13:42:48.982" v="4622"/>
          <ac:spMkLst>
            <pc:docMk/>
            <pc:sldMk cId="103697919" sldId="2147483514"/>
            <ac:spMk id="7" creationId="{BBAB705D-EAD2-8D61-E225-38C020E38BC7}"/>
          </ac:spMkLst>
        </pc:spChg>
        <pc:spChg chg="add del mod">
          <ac:chgData name="Julien Koerber" userId="816e704f-9f28-481a-98cb-78078794ec7b" providerId="ADAL" clId="{67384873-A532-462E-9867-AD6E6DA1C56B}" dt="2025-03-27T13:45:05.632" v="4646" actId="478"/>
          <ac:spMkLst>
            <pc:docMk/>
            <pc:sldMk cId="103697919" sldId="2147483514"/>
            <ac:spMk id="9" creationId="{F4ECFEE7-8320-96DB-EAFB-A34BBD2F046C}"/>
          </ac:spMkLst>
        </pc:spChg>
        <pc:spChg chg="add mod">
          <ac:chgData name="Julien Koerber" userId="816e704f-9f28-481a-98cb-78078794ec7b" providerId="ADAL" clId="{67384873-A532-462E-9867-AD6E6DA1C56B}" dt="2025-03-27T13:45:20.887" v="4649" actId="207"/>
          <ac:spMkLst>
            <pc:docMk/>
            <pc:sldMk cId="103697919" sldId="2147483514"/>
            <ac:spMk id="10" creationId="{818F3E35-DF0D-231F-2763-6DC774F8405C}"/>
          </ac:spMkLst>
        </pc:spChg>
        <pc:picChg chg="add mod">
          <ac:chgData name="Julien Koerber" userId="816e704f-9f28-481a-98cb-78078794ec7b" providerId="ADAL" clId="{67384873-A532-462E-9867-AD6E6DA1C56B}" dt="2025-03-27T13:44:25.473" v="4641" actId="1076"/>
          <ac:picMkLst>
            <pc:docMk/>
            <pc:sldMk cId="103697919" sldId="2147483514"/>
            <ac:picMk id="8" creationId="{BD17CC21-B103-B96C-2E73-52BFB6975DFD}"/>
          </ac:picMkLst>
        </pc:picChg>
        <pc:picChg chg="add mod">
          <ac:chgData name="Julien Koerber" userId="816e704f-9f28-481a-98cb-78078794ec7b" providerId="ADAL" clId="{67384873-A532-462E-9867-AD6E6DA1C56B}" dt="2025-03-27T13:44:33.689" v="4643" actId="1076"/>
          <ac:picMkLst>
            <pc:docMk/>
            <pc:sldMk cId="103697919" sldId="2147483514"/>
            <ac:picMk id="4104" creationId="{E107A046-6816-034F-E8C6-EDE60CE147A5}"/>
          </ac:picMkLst>
        </pc:picChg>
      </pc:sldChg>
      <pc:sldChg chg="add del">
        <pc:chgData name="Julien Koerber" userId="816e704f-9f28-481a-98cb-78078794ec7b" providerId="ADAL" clId="{67384873-A532-462E-9867-AD6E6DA1C56B}" dt="2025-03-27T10:13:46.796" v="4304"/>
        <pc:sldMkLst>
          <pc:docMk/>
          <pc:sldMk cId="522132095" sldId="2147483514"/>
        </pc:sldMkLst>
      </pc:sldChg>
      <pc:sldChg chg="addSp delSp modSp new del mod">
        <pc:chgData name="Julien Koerber" userId="816e704f-9f28-481a-98cb-78078794ec7b" providerId="ADAL" clId="{67384873-A532-462E-9867-AD6E6DA1C56B}" dt="2025-03-27T10:42:33.874" v="4490" actId="2696"/>
        <pc:sldMkLst>
          <pc:docMk/>
          <pc:sldMk cId="1548350698" sldId="2147483514"/>
        </pc:sldMkLst>
        <pc:spChg chg="del">
          <ac:chgData name="Julien Koerber" userId="816e704f-9f28-481a-98cb-78078794ec7b" providerId="ADAL" clId="{67384873-A532-462E-9867-AD6E6DA1C56B}" dt="2025-03-27T10:36:36.931" v="4356" actId="478"/>
          <ac:spMkLst>
            <pc:docMk/>
            <pc:sldMk cId="1548350698" sldId="2147483514"/>
            <ac:spMk id="2" creationId="{BE1D6470-BBDC-6216-6F44-856680651E14}"/>
          </ac:spMkLst>
        </pc:spChg>
        <pc:spChg chg="del">
          <ac:chgData name="Julien Koerber" userId="816e704f-9f28-481a-98cb-78078794ec7b" providerId="ADAL" clId="{67384873-A532-462E-9867-AD6E6DA1C56B}" dt="2025-03-27T10:36:40.191" v="4357" actId="478"/>
          <ac:spMkLst>
            <pc:docMk/>
            <pc:sldMk cId="1548350698" sldId="2147483514"/>
            <ac:spMk id="3" creationId="{6661FF74-480E-C0AC-DD21-6091FAA9D5B9}"/>
          </ac:spMkLst>
        </pc:spChg>
        <pc:spChg chg="del">
          <ac:chgData name="Julien Koerber" userId="816e704f-9f28-481a-98cb-78078794ec7b" providerId="ADAL" clId="{67384873-A532-462E-9867-AD6E6DA1C56B}" dt="2025-03-27T10:36:35.049" v="4355" actId="478"/>
          <ac:spMkLst>
            <pc:docMk/>
            <pc:sldMk cId="1548350698" sldId="2147483514"/>
            <ac:spMk id="4" creationId="{E2A5ECE6-BC0C-7C34-760A-0C3E0140E6C1}"/>
          </ac:spMkLst>
        </pc:spChg>
        <pc:spChg chg="add mod">
          <ac:chgData name="Julien Koerber" userId="816e704f-9f28-481a-98cb-78078794ec7b" providerId="ADAL" clId="{67384873-A532-462E-9867-AD6E6DA1C56B}" dt="2025-03-27T10:38:01.902" v="4457" actId="20577"/>
          <ac:spMkLst>
            <pc:docMk/>
            <pc:sldMk cId="1548350698" sldId="2147483514"/>
            <ac:spMk id="5" creationId="{28586035-AB19-C18D-F86C-DDF13A757C93}"/>
          </ac:spMkLst>
        </pc:spChg>
        <pc:picChg chg="add mod">
          <ac:chgData name="Julien Koerber" userId="816e704f-9f28-481a-98cb-78078794ec7b" providerId="ADAL" clId="{67384873-A532-462E-9867-AD6E6DA1C56B}" dt="2025-03-27T10:36:42.518" v="4358" actId="1076"/>
          <ac:picMkLst>
            <pc:docMk/>
            <pc:sldMk cId="1548350698" sldId="2147483514"/>
            <ac:picMk id="2050" creationId="{CE31C6FA-D563-7BFC-5879-C1924CB393F7}"/>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5A9ADF6-522F-4F7B-A2E3-852883721D0D}" type="datetimeFigureOut">
              <a:rPr lang="en-US" smtClean="0"/>
              <a:t>3/2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7A66EE8-9CE0-4F51-889D-F9A663A1E5C6}" type="slidenum">
              <a:rPr lang="en-US" smtClean="0"/>
              <a:t>‹#›</a:t>
            </a:fld>
            <a:endParaRPr lang="en-US"/>
          </a:p>
        </p:txBody>
      </p:sp>
    </p:spTree>
    <p:extLst>
      <p:ext uri="{BB962C8B-B14F-4D97-AF65-F5344CB8AC3E}">
        <p14:creationId xmlns:p14="http://schemas.microsoft.com/office/powerpoint/2010/main" val="9773691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9875" y="387350"/>
            <a:ext cx="4899025" cy="2755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14377"/>
            <a:fld id="{28182E2C-AC48-45A1-A539-1D63FC6BDE45}" type="slidenum">
              <a:rPr lang="en-US"/>
              <a:pPr defTabSz="914377"/>
              <a:t>3</a:t>
            </a:fld>
            <a:endParaRPr lang="en-US"/>
          </a:p>
        </p:txBody>
      </p:sp>
    </p:spTree>
    <p:extLst>
      <p:ext uri="{BB962C8B-B14F-4D97-AF65-F5344CB8AC3E}">
        <p14:creationId xmlns:p14="http://schemas.microsoft.com/office/powerpoint/2010/main" val="16493879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7363" y="357188"/>
            <a:ext cx="4513262" cy="2538412"/>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pPr defTabSz="914377"/>
            <a:fld id="{28182E2C-AC48-45A1-A539-1D63FC6BDE45}" type="slidenum">
              <a:rPr lang="de-DE" smtClean="0"/>
              <a:pPr defTabSz="914377"/>
              <a:t>4</a:t>
            </a:fld>
            <a:endParaRPr lang="de-DE"/>
          </a:p>
        </p:txBody>
      </p:sp>
    </p:spTree>
    <p:extLst>
      <p:ext uri="{BB962C8B-B14F-4D97-AF65-F5344CB8AC3E}">
        <p14:creationId xmlns:p14="http://schemas.microsoft.com/office/powerpoint/2010/main" val="1796059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 y="420688"/>
            <a:ext cx="5314950" cy="2990850"/>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charset="0"/>
              <a:buNone/>
              <a:tabLst/>
              <a:defRPr/>
            </a:pPr>
            <a:endParaRPr lang="en-US"/>
          </a:p>
        </p:txBody>
      </p:sp>
      <p:sp>
        <p:nvSpPr>
          <p:cNvPr id="4" name="Foliennummernplatzhalter 3"/>
          <p:cNvSpPr>
            <a:spLocks noGrp="1"/>
          </p:cNvSpPr>
          <p:nvPr>
            <p:ph type="sldNum" sz="quarter"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28182E2C-AC48-45A1-A539-1D63FC6BDE45}" type="slidenum">
              <a:rPr kumimoji="0" lang="en-US" sz="1000" b="0" i="0" u="none" strike="noStrike" kern="1200" cap="none" spc="0" normalizeH="0" baseline="0" noProof="0">
                <a:ln>
                  <a:noFill/>
                </a:ln>
                <a:solidFill>
                  <a:srgbClr val="52328F"/>
                </a:solidFill>
                <a:effectLst/>
                <a:uLnTx/>
                <a:uFillTx/>
                <a:latin typeface="Verdana"/>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a:ln>
                <a:noFill/>
              </a:ln>
              <a:solidFill>
                <a:srgbClr val="52328F"/>
              </a:solidFill>
              <a:effectLst/>
              <a:uLnTx/>
              <a:uFillTx/>
              <a:latin typeface="Verdana"/>
              <a:ea typeface="+mn-ea"/>
              <a:cs typeface="+mn-cs"/>
            </a:endParaRPr>
          </a:p>
        </p:txBody>
      </p:sp>
    </p:spTree>
    <p:extLst>
      <p:ext uri="{BB962C8B-B14F-4D97-AF65-F5344CB8AC3E}">
        <p14:creationId xmlns:p14="http://schemas.microsoft.com/office/powerpoint/2010/main" val="11775583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Speak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a:t>Have a smooth workflow to </a:t>
            </a:r>
            <a:r>
              <a:rPr lang="en-US" altLang="zh-CN">
                <a:solidFill>
                  <a:schemeClr val="accent2"/>
                </a:solidFill>
              </a:rPr>
              <a:t>design</a:t>
            </a:r>
            <a:r>
              <a:rPr lang="en-US" altLang="zh-CN"/>
              <a:t> a model of a control </a:t>
            </a:r>
            <a:r>
              <a:rPr lang="en-US" altLang="zh-CN">
                <a:solidFill>
                  <a:schemeClr val="accent2"/>
                </a:solidFill>
              </a:rPr>
              <a:t>up to</a:t>
            </a:r>
            <a:r>
              <a:rPr lang="en-US" altLang="zh-CN"/>
              <a:t> its </a:t>
            </a:r>
            <a:r>
              <a:rPr lang="en-US" altLang="zh-CN">
                <a:solidFill>
                  <a:schemeClr val="accent2"/>
                </a:solidFill>
              </a:rPr>
              <a:t>deployment</a:t>
            </a:r>
            <a:r>
              <a:rPr lang="en-US" altLang="zh-CN"/>
              <a:t>.</a:t>
            </a:r>
          </a:p>
          <a:p>
            <a:endParaRPr lang="zh-CN" altLang="fr-FR"/>
          </a:p>
        </p:txBody>
      </p:sp>
      <p:sp>
        <p:nvSpPr>
          <p:cNvPr id="4" name="Slide Number Placeholder 3"/>
          <p:cNvSpPr>
            <a:spLocks noGrp="1"/>
          </p:cNvSpPr>
          <p:nvPr>
            <p:ph type="sldNum" sz="quarter" idx="5"/>
          </p:nvPr>
        </p:nvSpPr>
        <p:spPr/>
        <p:txBody>
          <a:bodyPr/>
          <a:lstStyle/>
          <a:p>
            <a:fld id="{0BC7D229-16C8-4F5F-A2FE-0CDF970E04AA}" type="slidenum">
              <a:rPr lang="en-US" smtClean="0"/>
              <a:t>6</a:t>
            </a:fld>
            <a:endParaRPr lang="en-US"/>
          </a:p>
        </p:txBody>
      </p:sp>
    </p:spTree>
    <p:extLst>
      <p:ext uri="{BB962C8B-B14F-4D97-AF65-F5344CB8AC3E}">
        <p14:creationId xmlns:p14="http://schemas.microsoft.com/office/powerpoint/2010/main" val="20986689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Speak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a:t>Have a smooth workflow to </a:t>
            </a:r>
            <a:r>
              <a:rPr lang="en-US" altLang="zh-CN">
                <a:solidFill>
                  <a:schemeClr val="accent2"/>
                </a:solidFill>
              </a:rPr>
              <a:t>design</a:t>
            </a:r>
            <a:r>
              <a:rPr lang="en-US" altLang="zh-CN"/>
              <a:t> a model of a control </a:t>
            </a:r>
            <a:r>
              <a:rPr lang="en-US" altLang="zh-CN">
                <a:solidFill>
                  <a:schemeClr val="accent2"/>
                </a:solidFill>
              </a:rPr>
              <a:t>up to</a:t>
            </a:r>
            <a:r>
              <a:rPr lang="en-US" altLang="zh-CN"/>
              <a:t> its </a:t>
            </a:r>
            <a:r>
              <a:rPr lang="en-US" altLang="zh-CN">
                <a:solidFill>
                  <a:schemeClr val="accent2"/>
                </a:solidFill>
              </a:rPr>
              <a:t>deployment</a:t>
            </a:r>
            <a:r>
              <a:rPr lang="en-US" altLang="zh-CN"/>
              <a:t>.</a:t>
            </a:r>
          </a:p>
          <a:p>
            <a:endParaRPr lang="zh-CN" altLang="fr-FR"/>
          </a:p>
        </p:txBody>
      </p:sp>
      <p:sp>
        <p:nvSpPr>
          <p:cNvPr id="4" name="Slide Number Placeholder 3"/>
          <p:cNvSpPr>
            <a:spLocks noGrp="1"/>
          </p:cNvSpPr>
          <p:nvPr>
            <p:ph type="sldNum" sz="quarter" idx="5"/>
          </p:nvPr>
        </p:nvSpPr>
        <p:spPr/>
        <p:txBody>
          <a:bodyPr/>
          <a:lstStyle/>
          <a:p>
            <a:fld id="{0BC7D229-16C8-4F5F-A2FE-0CDF970E04AA}" type="slidenum">
              <a:rPr lang="en-US" smtClean="0"/>
              <a:t>8</a:t>
            </a:fld>
            <a:endParaRPr lang="en-US"/>
          </a:p>
        </p:txBody>
      </p:sp>
    </p:spTree>
    <p:extLst>
      <p:ext uri="{BB962C8B-B14F-4D97-AF65-F5344CB8AC3E}">
        <p14:creationId xmlns:p14="http://schemas.microsoft.com/office/powerpoint/2010/main" val="350729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Speak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a:t>Have a smooth workflow to </a:t>
            </a:r>
            <a:r>
              <a:rPr lang="en-US" altLang="zh-CN">
                <a:solidFill>
                  <a:schemeClr val="accent2"/>
                </a:solidFill>
              </a:rPr>
              <a:t>design</a:t>
            </a:r>
            <a:r>
              <a:rPr lang="en-US" altLang="zh-CN"/>
              <a:t> a model of a control </a:t>
            </a:r>
            <a:r>
              <a:rPr lang="en-US" altLang="zh-CN">
                <a:solidFill>
                  <a:schemeClr val="accent2"/>
                </a:solidFill>
              </a:rPr>
              <a:t>up to</a:t>
            </a:r>
            <a:r>
              <a:rPr lang="en-US" altLang="zh-CN"/>
              <a:t> its </a:t>
            </a:r>
            <a:r>
              <a:rPr lang="en-US" altLang="zh-CN">
                <a:solidFill>
                  <a:schemeClr val="accent2"/>
                </a:solidFill>
              </a:rPr>
              <a:t>deployment</a:t>
            </a:r>
            <a:r>
              <a:rPr lang="en-US" altLang="zh-CN"/>
              <a:t>.</a:t>
            </a:r>
          </a:p>
          <a:p>
            <a:endParaRPr lang="zh-CN" altLang="fr-FR"/>
          </a:p>
        </p:txBody>
      </p:sp>
      <p:sp>
        <p:nvSpPr>
          <p:cNvPr id="4" name="Slide Number Placeholder 3"/>
          <p:cNvSpPr>
            <a:spLocks noGrp="1"/>
          </p:cNvSpPr>
          <p:nvPr>
            <p:ph type="sldNum" sz="quarter" idx="5"/>
          </p:nvPr>
        </p:nvSpPr>
        <p:spPr/>
        <p:txBody>
          <a:bodyPr/>
          <a:lstStyle/>
          <a:p>
            <a:fld id="{0BC7D229-16C8-4F5F-A2FE-0CDF970E04AA}" type="slidenum">
              <a:rPr lang="en-US" smtClean="0"/>
              <a:t>9</a:t>
            </a:fld>
            <a:endParaRPr lang="en-US"/>
          </a:p>
        </p:txBody>
      </p:sp>
    </p:spTree>
    <p:extLst>
      <p:ext uri="{BB962C8B-B14F-4D97-AF65-F5344CB8AC3E}">
        <p14:creationId xmlns:p14="http://schemas.microsoft.com/office/powerpoint/2010/main" val="14405227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Speak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a:t>Have a smooth workflow to </a:t>
            </a:r>
            <a:r>
              <a:rPr lang="en-US" altLang="zh-CN">
                <a:solidFill>
                  <a:schemeClr val="accent2"/>
                </a:solidFill>
              </a:rPr>
              <a:t>design</a:t>
            </a:r>
            <a:r>
              <a:rPr lang="en-US" altLang="zh-CN"/>
              <a:t> a model of a control </a:t>
            </a:r>
            <a:r>
              <a:rPr lang="en-US" altLang="zh-CN">
                <a:solidFill>
                  <a:schemeClr val="accent2"/>
                </a:solidFill>
              </a:rPr>
              <a:t>up to</a:t>
            </a:r>
            <a:r>
              <a:rPr lang="en-US" altLang="zh-CN"/>
              <a:t> its </a:t>
            </a:r>
            <a:r>
              <a:rPr lang="en-US" altLang="zh-CN">
                <a:solidFill>
                  <a:schemeClr val="accent2"/>
                </a:solidFill>
              </a:rPr>
              <a:t>deployment</a:t>
            </a:r>
            <a:r>
              <a:rPr lang="en-US" altLang="zh-CN"/>
              <a:t>.</a:t>
            </a:r>
          </a:p>
          <a:p>
            <a:endParaRPr lang="zh-CN" altLang="fr-FR"/>
          </a:p>
        </p:txBody>
      </p:sp>
      <p:sp>
        <p:nvSpPr>
          <p:cNvPr id="4" name="Slide Number Placeholder 3"/>
          <p:cNvSpPr>
            <a:spLocks noGrp="1"/>
          </p:cNvSpPr>
          <p:nvPr>
            <p:ph type="sldNum" sz="quarter" idx="5"/>
          </p:nvPr>
        </p:nvSpPr>
        <p:spPr/>
        <p:txBody>
          <a:bodyPr/>
          <a:lstStyle/>
          <a:p>
            <a:fld id="{0BC7D229-16C8-4F5F-A2FE-0CDF970E04AA}" type="slidenum">
              <a:rPr lang="en-US" smtClean="0"/>
              <a:t>10</a:t>
            </a:fld>
            <a:endParaRPr lang="en-US"/>
          </a:p>
        </p:txBody>
      </p:sp>
    </p:spTree>
    <p:extLst>
      <p:ext uri="{BB962C8B-B14F-4D97-AF65-F5344CB8AC3E}">
        <p14:creationId xmlns:p14="http://schemas.microsoft.com/office/powerpoint/2010/main" val="28806833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Speak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a:t>Have a smooth workflow to </a:t>
            </a:r>
            <a:r>
              <a:rPr lang="en-US" altLang="zh-CN">
                <a:solidFill>
                  <a:schemeClr val="accent2"/>
                </a:solidFill>
              </a:rPr>
              <a:t>design</a:t>
            </a:r>
            <a:r>
              <a:rPr lang="en-US" altLang="zh-CN"/>
              <a:t> a model of a control </a:t>
            </a:r>
            <a:r>
              <a:rPr lang="en-US" altLang="zh-CN">
                <a:solidFill>
                  <a:schemeClr val="accent2"/>
                </a:solidFill>
              </a:rPr>
              <a:t>up to</a:t>
            </a:r>
            <a:r>
              <a:rPr lang="en-US" altLang="zh-CN"/>
              <a:t> its </a:t>
            </a:r>
            <a:r>
              <a:rPr lang="en-US" altLang="zh-CN">
                <a:solidFill>
                  <a:schemeClr val="accent2"/>
                </a:solidFill>
              </a:rPr>
              <a:t>deployment</a:t>
            </a:r>
            <a:r>
              <a:rPr lang="en-US" altLang="zh-CN"/>
              <a:t>.</a:t>
            </a:r>
          </a:p>
          <a:p>
            <a:endParaRPr lang="zh-CN" altLang="fr-FR"/>
          </a:p>
        </p:txBody>
      </p:sp>
      <p:sp>
        <p:nvSpPr>
          <p:cNvPr id="4" name="Slide Number Placeholder 3"/>
          <p:cNvSpPr>
            <a:spLocks noGrp="1"/>
          </p:cNvSpPr>
          <p:nvPr>
            <p:ph type="sldNum" sz="quarter" idx="5"/>
          </p:nvPr>
        </p:nvSpPr>
        <p:spPr/>
        <p:txBody>
          <a:bodyPr/>
          <a:lstStyle/>
          <a:p>
            <a:fld id="{0BC7D229-16C8-4F5F-A2FE-0CDF970E04AA}" type="slidenum">
              <a:rPr lang="en-US" smtClean="0"/>
              <a:t>12</a:t>
            </a:fld>
            <a:endParaRPr lang="en-US"/>
          </a:p>
        </p:txBody>
      </p:sp>
    </p:spTree>
    <p:extLst>
      <p:ext uri="{BB962C8B-B14F-4D97-AF65-F5344CB8AC3E}">
        <p14:creationId xmlns:p14="http://schemas.microsoft.com/office/powerpoint/2010/main" val="3587536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7A66EE8-9CE0-4F51-889D-F9A663A1E5C6}" type="slidenum">
              <a:rPr lang="en-US" smtClean="0"/>
              <a:t>17</a:t>
            </a:fld>
            <a:endParaRPr lang="en-US"/>
          </a:p>
        </p:txBody>
      </p:sp>
    </p:spTree>
    <p:extLst>
      <p:ext uri="{BB962C8B-B14F-4D97-AF65-F5344CB8AC3E}">
        <p14:creationId xmlns:p14="http://schemas.microsoft.com/office/powerpoint/2010/main" val="11888110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Intr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bwMode="gray">
          <a:xfrm>
            <a:off x="1" y="0"/>
            <a:ext cx="12192000" cy="6858001"/>
          </a:xfrm>
          <a:prstGeom prst="rect">
            <a:avLst/>
          </a:prstGeom>
          <a:solidFill>
            <a:srgbClr val="FFC832"/>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pic>
        <p:nvPicPr>
          <p:cNvPr id="5" name="Grafik 4">
            <a:extLst>
              <a:ext uri="{FF2B5EF4-FFF2-40B4-BE49-F238E27FC236}">
                <a16:creationId xmlns:a16="http://schemas.microsoft.com/office/drawing/2014/main" id="{96AB9C77-B728-44B7-8A93-77944D784333}"/>
              </a:ext>
            </a:extLst>
          </p:cNvPr>
          <p:cNvPicPr>
            <a:picLocks noChangeAspect="1"/>
          </p:cNvPicPr>
          <p:nvPr/>
        </p:nvPicPr>
        <p:blipFill>
          <a:blip r:embed="rId5"/>
          <a:stretch>
            <a:fillRect/>
          </a:stretch>
        </p:blipFill>
        <p:spPr>
          <a:xfrm>
            <a:off x="4045671" y="2409061"/>
            <a:ext cx="4100658" cy="2039878"/>
          </a:xfrm>
          <a:prstGeom prst="rect">
            <a:avLst/>
          </a:prstGeom>
        </p:spPr>
      </p:pic>
      <p:sp>
        <p:nvSpPr>
          <p:cNvPr id="7" name="Rechteck 19">
            <a:extLst>
              <a:ext uri="{FF2B5EF4-FFF2-40B4-BE49-F238E27FC236}">
                <a16:creationId xmlns:a16="http://schemas.microsoft.com/office/drawing/2014/main" id="{ED3B2D2A-090F-4E5C-86C8-054C6686360E}"/>
              </a:ext>
            </a:extLst>
          </p:cNvPr>
          <p:cNvSpPr/>
          <p:nvPr/>
        </p:nvSpPr>
        <p:spPr bwMode="gray">
          <a:xfrm>
            <a:off x="0" y="-387424"/>
            <a:ext cx="12192000" cy="288032"/>
          </a:xfrm>
          <a:prstGeom prst="rect">
            <a:avLst/>
          </a:prstGeom>
          <a:solidFill>
            <a:srgbClr val="E61E5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r>
              <a:rPr lang="en-US" sz="1400" kern="0">
                <a:solidFill>
                  <a:srgbClr val="FFFFFF"/>
                </a:solidFill>
                <a:latin typeface="+mn-lt"/>
              </a:rPr>
              <a:t>Please note: External facing presentation must include trademark and copyright language, as required for all marketing material.</a:t>
            </a:r>
            <a:endParaRPr lang="en-US" sz="1400" kern="0">
              <a:solidFill>
                <a:srgbClr val="FFFFFF"/>
              </a:solidFill>
              <a:latin typeface="Verdana"/>
            </a:endParaRPr>
          </a:p>
        </p:txBody>
      </p:sp>
      <p:sp>
        <p:nvSpPr>
          <p:cNvPr id="8" name="Text Placeholder 6">
            <a:extLst>
              <a:ext uri="{FF2B5EF4-FFF2-40B4-BE49-F238E27FC236}">
                <a16:creationId xmlns:a16="http://schemas.microsoft.com/office/drawing/2014/main" id="{39F8CAAD-132F-4841-B916-52E1FD942317}"/>
              </a:ext>
            </a:extLst>
          </p:cNvPr>
          <p:cNvSpPr>
            <a:spLocks noGrp="1"/>
          </p:cNvSpPr>
          <p:nvPr>
            <p:ph type="body" sz="quarter" idx="10" hasCustomPrompt="1"/>
          </p:nvPr>
        </p:nvSpPr>
        <p:spPr>
          <a:xfrm>
            <a:off x="623888" y="5656569"/>
            <a:ext cx="10944225" cy="466344"/>
          </a:xfrm>
        </p:spPr>
        <p:txBody>
          <a:bodyPr lIns="91440" tIns="45720" rIns="91440" bIns="45720"/>
          <a:lstStyle>
            <a:lvl1pPr marL="0" indent="0" algn="ctr">
              <a:lnSpc>
                <a:spcPct val="100000"/>
              </a:lnSpc>
              <a:spcBef>
                <a:spcPts val="0"/>
              </a:spcBef>
              <a:spcAft>
                <a:spcPts val="0"/>
              </a:spcAft>
              <a:buFont typeface="Arial" panose="020B0604020202020204" pitchFamily="34" charset="0"/>
              <a:buNone/>
              <a:defRPr lang="en-US" sz="900">
                <a:solidFill>
                  <a:schemeClr val="accent1"/>
                </a:solidFill>
                <a:effectLst/>
              </a:defRPr>
            </a:lvl1pPr>
            <a:lvl2pPr marL="0" indent="0" algn="ctr">
              <a:lnSpc>
                <a:spcPct val="100000"/>
              </a:lnSpc>
              <a:spcBef>
                <a:spcPts val="0"/>
              </a:spcBef>
              <a:spcAft>
                <a:spcPts val="0"/>
              </a:spcAft>
              <a:buNone/>
              <a:defRPr sz="800">
                <a:solidFill>
                  <a:schemeClr val="accent1"/>
                </a:solidFill>
              </a:defRPr>
            </a:lvl2pPr>
            <a:lvl3pPr marL="0" indent="0" algn="ctr">
              <a:lnSpc>
                <a:spcPct val="100000"/>
              </a:lnSpc>
              <a:spcBef>
                <a:spcPts val="0"/>
              </a:spcBef>
              <a:spcAft>
                <a:spcPts val="0"/>
              </a:spcAft>
              <a:buNone/>
              <a:defRPr sz="800">
                <a:solidFill>
                  <a:schemeClr val="accent1"/>
                </a:solidFill>
              </a:defRPr>
            </a:lvl3pPr>
            <a:lvl4pPr marL="0" indent="0" algn="ctr">
              <a:lnSpc>
                <a:spcPct val="100000"/>
              </a:lnSpc>
              <a:spcBef>
                <a:spcPts val="0"/>
              </a:spcBef>
              <a:spcAft>
                <a:spcPts val="0"/>
              </a:spcAft>
              <a:buNone/>
              <a:defRPr sz="800">
                <a:solidFill>
                  <a:schemeClr val="accent1"/>
                </a:solidFill>
              </a:defRPr>
            </a:lvl4pPr>
            <a:lvl5pPr marL="0" indent="0" algn="ctr">
              <a:lnSpc>
                <a:spcPct val="100000"/>
              </a:lnSpc>
              <a:spcBef>
                <a:spcPts val="0"/>
              </a:spcBef>
              <a:spcAft>
                <a:spcPts val="0"/>
              </a:spcAft>
              <a:buNone/>
              <a:defRPr sz="800">
                <a:solidFill>
                  <a:schemeClr val="accent1"/>
                </a:solidFill>
              </a:defRPr>
            </a:lvl5pPr>
          </a:lstStyle>
          <a:p>
            <a:pPr lvl="0"/>
            <a:r>
              <a:rPr lang="en-US" sz="900">
                <a:effectLst/>
                <a:latin typeface="Verdana" panose="020B0604030504040204" pitchFamily="34" charset="0"/>
                <a:ea typeface="Calibri" panose="020F0502020204030204" pitchFamily="34" charset="0"/>
                <a:cs typeface="Calibri" panose="020F0502020204030204" pitchFamily="34" charset="0"/>
              </a:rPr>
              <a:t>This is a placeholder for trademark and copyright language. </a:t>
            </a:r>
            <a:br>
              <a:rPr lang="en-US" sz="900">
                <a:effectLst/>
                <a:latin typeface="Verdana" panose="020B0604030504040204" pitchFamily="34" charset="0"/>
                <a:ea typeface="Calibri" panose="020F0502020204030204" pitchFamily="34" charset="0"/>
                <a:cs typeface="Calibri" panose="020F0502020204030204" pitchFamily="34" charset="0"/>
              </a:rPr>
            </a:br>
            <a:r>
              <a:rPr lang="en-US" sz="900">
                <a:effectLst/>
                <a:latin typeface="Verdana" panose="020B0604030504040204" pitchFamily="34" charset="0"/>
                <a:ea typeface="Calibri" panose="020F0502020204030204" pitchFamily="34" charset="0"/>
                <a:cs typeface="Calibri" panose="020F0502020204030204" pitchFamily="34" charset="0"/>
              </a:rPr>
              <a:t>E.g. “Merck, the vibrant M are trademarks of Merck </a:t>
            </a:r>
            <a:r>
              <a:rPr lang="en-US" sz="900" err="1">
                <a:effectLst/>
                <a:latin typeface="Verdana" panose="020B0604030504040204" pitchFamily="34" charset="0"/>
                <a:ea typeface="Calibri" panose="020F0502020204030204" pitchFamily="34" charset="0"/>
                <a:cs typeface="Calibri" panose="020F0502020204030204" pitchFamily="34" charset="0"/>
              </a:rPr>
              <a:t>KGaA</a:t>
            </a:r>
            <a:r>
              <a:rPr lang="en-US" sz="900">
                <a:effectLst/>
                <a:latin typeface="Verdana" panose="020B0604030504040204" pitchFamily="34" charset="0"/>
                <a:ea typeface="Calibri" panose="020F0502020204030204" pitchFamily="34" charset="0"/>
                <a:cs typeface="Calibri" panose="020F0502020204030204" pitchFamily="34" charset="0"/>
              </a:rPr>
              <a:t>, Darmstadt, Germany or its affiliates.</a:t>
            </a:r>
            <a:br>
              <a:rPr lang="en-US" sz="900">
                <a:effectLst/>
                <a:latin typeface="Verdana" panose="020B0604030504040204" pitchFamily="34" charset="0"/>
                <a:ea typeface="Calibri" panose="020F0502020204030204" pitchFamily="34" charset="0"/>
                <a:cs typeface="Calibri" panose="020F0502020204030204" pitchFamily="34" charset="0"/>
              </a:rPr>
            </a:br>
            <a:r>
              <a:rPr lang="en-US" sz="900">
                <a:effectLst/>
                <a:latin typeface="Verdana" panose="020B0604030504040204" pitchFamily="34" charset="0"/>
                <a:ea typeface="Calibri" panose="020F0502020204030204" pitchFamily="34" charset="0"/>
                <a:cs typeface="Calibri" panose="020F0502020204030204" pitchFamily="34" charset="0"/>
              </a:rPr>
              <a:t>All other trademarks are the property of their respective owners.”</a:t>
            </a:r>
          </a:p>
          <a:p>
            <a:pPr lvl="0"/>
            <a:br>
              <a:rPr lang="en-US" sz="900">
                <a:effectLst/>
                <a:latin typeface="Verdana" panose="020B0604030504040204" pitchFamily="34" charset="0"/>
                <a:ea typeface="Calibri" panose="020F0502020204030204" pitchFamily="34" charset="0"/>
                <a:cs typeface="Calibri" panose="020F0502020204030204" pitchFamily="34" charset="0"/>
              </a:rPr>
            </a:br>
            <a:endParaRPr lang="en-US"/>
          </a:p>
        </p:txBody>
      </p:sp>
    </p:spTree>
    <p:extLst>
      <p:ext uri="{BB962C8B-B14F-4D97-AF65-F5344CB8AC3E}">
        <p14:creationId xmlns:p14="http://schemas.microsoft.com/office/powerpoint/2010/main" val="19113044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9B3F954B-2BFA-4029-81A2-2121DEE7DE3F}"/>
              </a:ext>
            </a:extLst>
          </p:cNvPr>
          <p:cNvSpPr>
            <a:spLocks noGrp="1"/>
          </p:cNvSpPr>
          <p:nvPr>
            <p:ph type="sldNum" sz="quarter" idx="10"/>
          </p:nvPr>
        </p:nvSpPr>
        <p:spPr/>
        <p:txBody>
          <a:bodyPr/>
          <a:lstStyle/>
          <a:p>
            <a:fld id="{69A16F5A-6579-4B27-831F-BFAC76EFA3CE}" type="slidenum">
              <a:rPr lang="en-US" smtClean="0"/>
              <a:t>‹#›</a:t>
            </a:fld>
            <a:endParaRPr lang="en-US"/>
          </a:p>
        </p:txBody>
      </p:sp>
      <p:sp>
        <p:nvSpPr>
          <p:cNvPr id="4" name="Fußzeilenplatzhalter 3">
            <a:extLst>
              <a:ext uri="{FF2B5EF4-FFF2-40B4-BE49-F238E27FC236}">
                <a16:creationId xmlns:a16="http://schemas.microsoft.com/office/drawing/2014/main" id="{15AC89B3-2089-43D3-9017-116F49837DA8}"/>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2597434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3B048F8F-2117-4CA9-9663-771E19A8BE2D}"/>
              </a:ext>
            </a:extLst>
          </p:cNvPr>
          <p:cNvSpPr/>
          <p:nvPr/>
        </p:nvSpPr>
        <p:spPr bwMode="gray">
          <a:xfrm>
            <a:off x="0" y="0"/>
            <a:ext cx="12192000" cy="6858000"/>
          </a:xfrm>
          <a:prstGeom prst="rect">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sp>
        <p:nvSpPr>
          <p:cNvPr id="25" name="Freihandform: Form 24">
            <a:extLst>
              <a:ext uri="{FF2B5EF4-FFF2-40B4-BE49-F238E27FC236}">
                <a16:creationId xmlns:a16="http://schemas.microsoft.com/office/drawing/2014/main" id="{7CBE5CD0-B8CC-41FF-A32D-9C4BF83E1924}"/>
              </a:ext>
            </a:extLst>
          </p:cNvPr>
          <p:cNvSpPr/>
          <p:nvPr/>
        </p:nvSpPr>
        <p:spPr bwMode="gray">
          <a:xfrm>
            <a:off x="0" y="0"/>
            <a:ext cx="12192000" cy="6871502"/>
          </a:xfrm>
          <a:custGeom>
            <a:avLst/>
            <a:gdLst>
              <a:gd name="connsiteX0" fmla="*/ 4397259 w 12192000"/>
              <a:gd name="connsiteY0" fmla="*/ 3976097 h 6871502"/>
              <a:gd name="connsiteX1" fmla="*/ 4478535 w 12192000"/>
              <a:gd name="connsiteY1" fmla="*/ 3976383 h 6871502"/>
              <a:gd name="connsiteX2" fmla="*/ 4582484 w 12192000"/>
              <a:gd name="connsiteY2" fmla="*/ 3998142 h 6871502"/>
              <a:gd name="connsiteX3" fmla="*/ 10484738 w 12192000"/>
              <a:gd name="connsiteY3" fmla="*/ 5808863 h 6871502"/>
              <a:gd name="connsiteX4" fmla="*/ 11420969 w 12192000"/>
              <a:gd name="connsiteY4" fmla="*/ 5594794 h 6871502"/>
              <a:gd name="connsiteX5" fmla="*/ 12192000 w 12192000"/>
              <a:gd name="connsiteY5" fmla="*/ 4878752 h 6871502"/>
              <a:gd name="connsiteX6" fmla="*/ 12192000 w 12192000"/>
              <a:gd name="connsiteY6" fmla="*/ 6871502 h 6871502"/>
              <a:gd name="connsiteX7" fmla="*/ 4427403 w 12192000"/>
              <a:gd name="connsiteY7" fmla="*/ 6871502 h 6871502"/>
              <a:gd name="connsiteX8" fmla="*/ 4440767 w 12192000"/>
              <a:gd name="connsiteY8" fmla="*/ 6851715 h 6871502"/>
              <a:gd name="connsiteX9" fmla="*/ 4575052 w 12192000"/>
              <a:gd name="connsiteY9" fmla="*/ 6122931 h 6871502"/>
              <a:gd name="connsiteX10" fmla="*/ 4175743 w 12192000"/>
              <a:gd name="connsiteY10" fmla="*/ 4375294 h 6871502"/>
              <a:gd name="connsiteX11" fmla="*/ 4397259 w 12192000"/>
              <a:gd name="connsiteY11" fmla="*/ 3976097 h 6871502"/>
              <a:gd name="connsiteX12" fmla="*/ 0 w 12192000"/>
              <a:gd name="connsiteY12" fmla="*/ 0 h 6871502"/>
              <a:gd name="connsiteX13" fmla="*/ 5213514 w 12192000"/>
              <a:gd name="connsiteY13" fmla="*/ 0 h 6871502"/>
              <a:gd name="connsiteX14" fmla="*/ 5213387 w 12192000"/>
              <a:gd name="connsiteY14" fmla="*/ 36128 h 6871502"/>
              <a:gd name="connsiteX15" fmla="*/ 5230161 w 12192000"/>
              <a:gd name="connsiteY15" fmla="*/ 152458 h 6871502"/>
              <a:gd name="connsiteX16" fmla="*/ 5986180 w 12192000"/>
              <a:gd name="connsiteY16" fmla="*/ 3470000 h 6871502"/>
              <a:gd name="connsiteX17" fmla="*/ 5579443 w 12192000"/>
              <a:gd name="connsiteY17" fmla="*/ 3847151 h 6871502"/>
              <a:gd name="connsiteX18" fmla="*/ 1222517 w 12192000"/>
              <a:gd name="connsiteY18" fmla="*/ 2512389 h 6871502"/>
              <a:gd name="connsiteX19" fmla="*/ 286286 w 12192000"/>
              <a:gd name="connsiteY19" fmla="*/ 2726459 h 6871502"/>
              <a:gd name="connsiteX20" fmla="*/ 0 w 12192000"/>
              <a:gd name="connsiteY20" fmla="*/ 2992361 h 6871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2000" h="6871502">
                <a:moveTo>
                  <a:pt x="4397259" y="3976097"/>
                </a:moveTo>
                <a:cubicBezTo>
                  <a:pt x="4422713" y="3973399"/>
                  <a:pt x="4449868" y="3973437"/>
                  <a:pt x="4478535" y="3976383"/>
                </a:cubicBezTo>
                <a:cubicBezTo>
                  <a:pt x="4511299" y="3979751"/>
                  <a:pt x="4546040" y="3986917"/>
                  <a:pt x="4582484" y="3998142"/>
                </a:cubicBezTo>
                <a:lnTo>
                  <a:pt x="10484738" y="5808863"/>
                </a:lnTo>
                <a:cubicBezTo>
                  <a:pt x="10776287" y="5898660"/>
                  <a:pt x="11198133" y="5802422"/>
                  <a:pt x="11420969" y="5594794"/>
                </a:cubicBezTo>
                <a:lnTo>
                  <a:pt x="12192000" y="4878752"/>
                </a:lnTo>
                <a:lnTo>
                  <a:pt x="12192000" y="6871502"/>
                </a:lnTo>
                <a:lnTo>
                  <a:pt x="4427403" y="6871502"/>
                </a:lnTo>
                <a:lnTo>
                  <a:pt x="4440767" y="6851715"/>
                </a:lnTo>
                <a:cubicBezTo>
                  <a:pt x="4567894" y="6634154"/>
                  <a:pt x="4626586" y="6345999"/>
                  <a:pt x="4575052" y="6122931"/>
                </a:cubicBezTo>
                <a:lnTo>
                  <a:pt x="4175743" y="4375294"/>
                </a:lnTo>
                <a:cubicBezTo>
                  <a:pt x="4124137" y="4147886"/>
                  <a:pt x="4219075" y="3994980"/>
                  <a:pt x="4397259" y="3976097"/>
                </a:cubicBezTo>
                <a:close/>
                <a:moveTo>
                  <a:pt x="0" y="0"/>
                </a:moveTo>
                <a:lnTo>
                  <a:pt x="5213514" y="0"/>
                </a:lnTo>
                <a:lnTo>
                  <a:pt x="5213387" y="36128"/>
                </a:lnTo>
                <a:cubicBezTo>
                  <a:pt x="5216045" y="76295"/>
                  <a:pt x="5221573" y="115281"/>
                  <a:pt x="5230161" y="152458"/>
                </a:cubicBezTo>
                <a:lnTo>
                  <a:pt x="5986180" y="3470000"/>
                </a:lnTo>
                <a:cubicBezTo>
                  <a:pt x="6053586" y="3767022"/>
                  <a:pt x="5870990" y="3936947"/>
                  <a:pt x="5579443" y="3847151"/>
                </a:cubicBezTo>
                <a:lnTo>
                  <a:pt x="1222517" y="2512389"/>
                </a:lnTo>
                <a:cubicBezTo>
                  <a:pt x="930968" y="2422594"/>
                  <a:pt x="510429" y="2519231"/>
                  <a:pt x="286286" y="2726459"/>
                </a:cubicBezTo>
                <a:lnTo>
                  <a:pt x="0" y="2992361"/>
                </a:lnTo>
                <a:close/>
              </a:path>
            </a:pathLst>
          </a:custGeom>
          <a:solidFill>
            <a:schemeClr val="accent4"/>
          </a:solidFill>
          <a:ln w="9525" cap="flat" cmpd="sng" algn="ctr">
            <a:noFill/>
            <a:prstDash val="solid"/>
          </a:ln>
          <a:effectLst/>
        </p:spPr>
        <p:txBody>
          <a:bodyPr wrap="square" rtlCol="0" anchor="ctr" anchorCtr="0">
            <a:noAutofit/>
          </a:bodyPr>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0" name="Group 9"/>
          <p:cNvGrpSpPr>
            <a:grpSpLocks noChangeAspect="1"/>
          </p:cNvGrpSpPr>
          <p:nvPr>
            <p:custDataLst>
              <p:tags r:id="rId2"/>
            </p:custDataLst>
          </p:nvPr>
        </p:nvGrpSpPr>
        <p:grpSpPr bwMode="gray">
          <a:xfrm>
            <a:off x="10539522" y="6440320"/>
            <a:ext cx="1028592" cy="162000"/>
            <a:chOff x="-4548188" y="3063875"/>
            <a:chExt cx="2741613" cy="431800"/>
          </a:xfrm>
          <a:solidFill>
            <a:schemeClr val="bg2"/>
          </a:solidFill>
        </p:grpSpPr>
        <p:sp>
          <p:nvSpPr>
            <p:cNvPr id="11" name="Freeform 9"/>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3"/>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2"/>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Text Placeholder 16"/>
          <p:cNvSpPr>
            <a:spLocks noGrp="1"/>
          </p:cNvSpPr>
          <p:nvPr>
            <p:ph type="body" sz="quarter" idx="13" hasCustomPrompt="1"/>
          </p:nvPr>
        </p:nvSpPr>
        <p:spPr bwMode="gray">
          <a:xfrm>
            <a:off x="623392" y="3861048"/>
            <a:ext cx="3431578" cy="2231777"/>
          </a:xfrm>
          <a:prstGeom prst="rect">
            <a:avLst/>
          </a:prstGeom>
        </p:spPr>
        <p:txBody>
          <a:bodyPr wrap="none" anchor="b"/>
          <a:lstStyle>
            <a:lvl1pPr marL="0" indent="0">
              <a:buFont typeface="Arial" panose="020B0604020202020204" pitchFamily="34" charset="0"/>
              <a:buNone/>
              <a:defRPr sz="11500" b="0">
                <a:ln>
                  <a:noFill/>
                </a:ln>
                <a:solidFill>
                  <a:schemeClr val="bg2"/>
                </a:solidFill>
                <a:latin typeface="Merck" panose="04040805020F02020302" pitchFamily="82" charset="0"/>
              </a:defRPr>
            </a:lvl1pPr>
            <a:lvl2pPr marL="0" indent="0">
              <a:spcBef>
                <a:spcPts val="600"/>
              </a:spcBef>
              <a:buFont typeface="Arial" panose="020B0604020202020204" pitchFamily="34" charset="0"/>
              <a:buNone/>
              <a:defRPr sz="5000" b="0">
                <a:ln>
                  <a:solidFill>
                    <a:schemeClr val="bg2"/>
                  </a:solidFill>
                </a:ln>
                <a:noFill/>
                <a:latin typeface="Merck" panose="04040805020F02020302" pitchFamily="82" charset="0"/>
              </a:defRPr>
            </a:lvl2pPr>
            <a:lvl3pPr marL="0" indent="0">
              <a:spcBef>
                <a:spcPts val="600"/>
              </a:spcBef>
              <a:buNone/>
              <a:defRPr sz="5000" b="0">
                <a:ln>
                  <a:solidFill>
                    <a:schemeClr val="bg2"/>
                  </a:solidFill>
                </a:ln>
                <a:noFill/>
                <a:latin typeface="Merck" panose="04040805020F02020302" pitchFamily="82" charset="0"/>
              </a:defRPr>
            </a:lvl3pPr>
            <a:lvl4pPr marL="0" indent="0">
              <a:spcBef>
                <a:spcPts val="600"/>
              </a:spcBef>
              <a:buNone/>
              <a:defRPr sz="5000" b="0">
                <a:ln>
                  <a:solidFill>
                    <a:schemeClr val="bg2"/>
                  </a:solidFill>
                </a:ln>
                <a:noFill/>
                <a:latin typeface="Merck" panose="04040805020F02020302" pitchFamily="82" charset="0"/>
              </a:defRPr>
            </a:lvl4pPr>
            <a:lvl5pPr marL="0" indent="0">
              <a:spcBef>
                <a:spcPts val="600"/>
              </a:spcBef>
              <a:buNone/>
              <a:defRPr sz="5000" b="0">
                <a:ln>
                  <a:solidFill>
                    <a:schemeClr val="bg2"/>
                  </a:solidFill>
                </a:ln>
                <a:noFill/>
                <a:latin typeface="Merck" panose="04040805020F02020302" pitchFamily="82" charset="0"/>
              </a:defRPr>
            </a:lvl5pPr>
            <a:lvl6pPr marL="0" indent="0">
              <a:spcBef>
                <a:spcPts val="600"/>
              </a:spcBef>
              <a:buNone/>
              <a:defRPr sz="5000" b="0">
                <a:ln>
                  <a:solidFill>
                    <a:schemeClr val="bg2"/>
                  </a:solidFill>
                </a:ln>
                <a:noFill/>
                <a:latin typeface="Merck" panose="04040805020F02020302" pitchFamily="82" charset="0"/>
              </a:defRPr>
            </a:lvl6pPr>
            <a:lvl7pPr marL="0" indent="0">
              <a:spcBef>
                <a:spcPts val="600"/>
              </a:spcBef>
              <a:buNone/>
              <a:defRPr sz="5000" b="0">
                <a:ln>
                  <a:solidFill>
                    <a:schemeClr val="bg2"/>
                  </a:solidFill>
                </a:ln>
                <a:noFill/>
                <a:latin typeface="Merck" panose="04040805020F02020302" pitchFamily="82" charset="0"/>
              </a:defRPr>
            </a:lvl7pPr>
            <a:lvl8pPr marL="0" indent="0">
              <a:spcBef>
                <a:spcPts val="600"/>
              </a:spcBef>
              <a:buNone/>
              <a:defRPr sz="5000" b="0">
                <a:ln>
                  <a:solidFill>
                    <a:schemeClr val="bg2"/>
                  </a:solidFill>
                </a:ln>
                <a:noFill/>
                <a:latin typeface="Merck" panose="04040805020F02020302" pitchFamily="82" charset="0"/>
              </a:defRPr>
            </a:lvl8pPr>
            <a:lvl9pPr marL="0" indent="0">
              <a:spcBef>
                <a:spcPts val="600"/>
              </a:spcBef>
              <a:buNone/>
              <a:defRPr sz="5000" b="0">
                <a:ln>
                  <a:solidFill>
                    <a:schemeClr val="bg2"/>
                  </a:solidFill>
                </a:ln>
                <a:noFill/>
                <a:latin typeface="Merck" panose="04040805020F02020302" pitchFamily="82" charset="0"/>
              </a:defRPr>
            </a:lvl9pPr>
          </a:lstStyle>
          <a:p>
            <a:pPr lvl="0"/>
            <a:r>
              <a:rPr lang="en-US"/>
              <a:t>00</a:t>
            </a:r>
          </a:p>
        </p:txBody>
      </p:sp>
      <p:sp>
        <p:nvSpPr>
          <p:cNvPr id="2" name="Title 1"/>
          <p:cNvSpPr>
            <a:spLocks noGrp="1"/>
          </p:cNvSpPr>
          <p:nvPr>
            <p:ph type="title" hasCustomPrompt="1"/>
          </p:nvPr>
        </p:nvSpPr>
        <p:spPr bwMode="gray">
          <a:xfrm>
            <a:off x="6240463" y="1484784"/>
            <a:ext cx="5327651" cy="1368151"/>
          </a:xfrm>
          <a:prstGeom prst="rect">
            <a:avLst/>
          </a:prstGeom>
          <a:noFill/>
        </p:spPr>
        <p:txBody>
          <a:bodyPr tIns="72000" bIns="0" anchor="t" anchorCtr="0"/>
          <a:lstStyle>
            <a:lvl1pPr>
              <a:lnSpc>
                <a:spcPct val="100000"/>
              </a:lnSpc>
              <a:defRPr sz="3600" b="0" cap="none" baseline="0">
                <a:solidFill>
                  <a:schemeClr val="accent4"/>
                </a:solidFill>
                <a:latin typeface="Merck" panose="04040805020F02020302" pitchFamily="82" charset="0"/>
              </a:defRPr>
            </a:lvl1pPr>
          </a:lstStyle>
          <a:p>
            <a:pPr lvl="0"/>
            <a:r>
              <a:rPr lang="en-US" noProof="0"/>
              <a:t>Chapter name </a:t>
            </a:r>
            <a:br>
              <a:rPr lang="en-US" noProof="0"/>
            </a:br>
            <a:r>
              <a:rPr lang="en-US" noProof="0"/>
              <a:t>in two lines</a:t>
            </a:r>
          </a:p>
        </p:txBody>
      </p:sp>
    </p:spTree>
    <p:extLst>
      <p:ext uri="{BB962C8B-B14F-4D97-AF65-F5344CB8AC3E}">
        <p14:creationId xmlns:p14="http://schemas.microsoft.com/office/powerpoint/2010/main" val="3186574727"/>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ivider plain">
    <p:spTree>
      <p:nvGrpSpPr>
        <p:cNvPr id="1" name=""/>
        <p:cNvGrpSpPr/>
        <p:nvPr/>
      </p:nvGrpSpPr>
      <p:grpSpPr>
        <a:xfrm>
          <a:off x="0" y="0"/>
          <a:ext cx="0" cy="0"/>
          <a:chOff x="0" y="0"/>
          <a:chExt cx="0" cy="0"/>
        </a:xfrm>
      </p:grpSpPr>
      <p:sp>
        <p:nvSpPr>
          <p:cNvPr id="28" name="Rectangle 5">
            <a:extLst>
              <a:ext uri="{FF2B5EF4-FFF2-40B4-BE49-F238E27FC236}">
                <a16:creationId xmlns:a16="http://schemas.microsoft.com/office/drawing/2014/main" id="{93CCD95C-EF50-4937-B31B-5AE1A346217B}"/>
              </a:ext>
            </a:extLst>
          </p:cNvPr>
          <p:cNvSpPr/>
          <p:nvPr/>
        </p:nvSpPr>
        <p:spPr bwMode="gray">
          <a:xfrm>
            <a:off x="1" y="0"/>
            <a:ext cx="12192000" cy="6858001"/>
          </a:xfrm>
          <a:prstGeom prst="rect">
            <a:avLst/>
          </a:prstGeom>
          <a:solidFill>
            <a:srgbClr val="FFC832"/>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16"/>
          <p:cNvSpPr>
            <a:spLocks noGrp="1"/>
          </p:cNvSpPr>
          <p:nvPr>
            <p:ph type="body" sz="quarter" idx="13" hasCustomPrompt="1"/>
          </p:nvPr>
        </p:nvSpPr>
        <p:spPr bwMode="gray">
          <a:xfrm>
            <a:off x="5951538" y="1989138"/>
            <a:ext cx="5617069" cy="1251710"/>
          </a:xfrm>
          <a:prstGeom prst="rect">
            <a:avLst/>
          </a:prstGeom>
        </p:spPr>
        <p:txBody>
          <a:bodyPr wrap="none" tIns="0" bIns="216000" anchor="ctr"/>
          <a:lstStyle>
            <a:lvl1pPr marL="0" indent="0" algn="l">
              <a:buFont typeface="Arial" panose="020B0604020202020204" pitchFamily="34" charset="0"/>
              <a:buNone/>
              <a:defRPr sz="11500" b="0">
                <a:ln>
                  <a:noFill/>
                </a:ln>
                <a:solidFill>
                  <a:schemeClr val="bg2"/>
                </a:solidFill>
                <a:latin typeface="Merck" panose="04040805020F02020302" pitchFamily="82" charset="0"/>
              </a:defRPr>
            </a:lvl1pPr>
            <a:lvl2pPr marL="0" indent="0">
              <a:spcBef>
                <a:spcPts val="600"/>
              </a:spcBef>
              <a:buFont typeface="Arial" panose="020B0604020202020204" pitchFamily="34" charset="0"/>
              <a:buNone/>
              <a:defRPr sz="5000" b="0">
                <a:ln>
                  <a:solidFill>
                    <a:schemeClr val="bg2"/>
                  </a:solidFill>
                </a:ln>
                <a:noFill/>
                <a:latin typeface="Merck" panose="04040805020F02020302" pitchFamily="82" charset="0"/>
              </a:defRPr>
            </a:lvl2pPr>
            <a:lvl3pPr marL="0" indent="0">
              <a:spcBef>
                <a:spcPts val="600"/>
              </a:spcBef>
              <a:buNone/>
              <a:defRPr sz="5000" b="0">
                <a:ln>
                  <a:solidFill>
                    <a:schemeClr val="bg2"/>
                  </a:solidFill>
                </a:ln>
                <a:noFill/>
                <a:latin typeface="Merck" panose="04040805020F02020302" pitchFamily="82" charset="0"/>
              </a:defRPr>
            </a:lvl3pPr>
            <a:lvl4pPr marL="0" indent="0">
              <a:spcBef>
                <a:spcPts val="600"/>
              </a:spcBef>
              <a:buNone/>
              <a:defRPr sz="5000" b="0">
                <a:ln>
                  <a:solidFill>
                    <a:schemeClr val="bg2"/>
                  </a:solidFill>
                </a:ln>
                <a:noFill/>
                <a:latin typeface="Merck" panose="04040805020F02020302" pitchFamily="82" charset="0"/>
              </a:defRPr>
            </a:lvl4pPr>
            <a:lvl5pPr marL="0" indent="0">
              <a:spcBef>
                <a:spcPts val="600"/>
              </a:spcBef>
              <a:buNone/>
              <a:defRPr sz="5000" b="0">
                <a:ln>
                  <a:solidFill>
                    <a:schemeClr val="bg2"/>
                  </a:solidFill>
                </a:ln>
                <a:noFill/>
                <a:latin typeface="Merck" panose="04040805020F02020302" pitchFamily="82" charset="0"/>
              </a:defRPr>
            </a:lvl5pPr>
            <a:lvl6pPr marL="0" indent="0">
              <a:spcBef>
                <a:spcPts val="600"/>
              </a:spcBef>
              <a:buNone/>
              <a:defRPr sz="5000" b="0">
                <a:ln>
                  <a:solidFill>
                    <a:schemeClr val="bg2"/>
                  </a:solidFill>
                </a:ln>
                <a:noFill/>
                <a:latin typeface="Merck" panose="04040805020F02020302" pitchFamily="82" charset="0"/>
              </a:defRPr>
            </a:lvl6pPr>
            <a:lvl7pPr marL="0" indent="0">
              <a:spcBef>
                <a:spcPts val="600"/>
              </a:spcBef>
              <a:buNone/>
              <a:defRPr sz="5000" b="0">
                <a:ln>
                  <a:solidFill>
                    <a:schemeClr val="bg2"/>
                  </a:solidFill>
                </a:ln>
                <a:noFill/>
                <a:latin typeface="Merck" panose="04040805020F02020302" pitchFamily="82" charset="0"/>
              </a:defRPr>
            </a:lvl7pPr>
            <a:lvl8pPr marL="0" indent="0">
              <a:spcBef>
                <a:spcPts val="600"/>
              </a:spcBef>
              <a:buNone/>
              <a:defRPr sz="5000" b="0">
                <a:ln>
                  <a:solidFill>
                    <a:schemeClr val="bg2"/>
                  </a:solidFill>
                </a:ln>
                <a:noFill/>
                <a:latin typeface="Merck" panose="04040805020F02020302" pitchFamily="82" charset="0"/>
              </a:defRPr>
            </a:lvl8pPr>
            <a:lvl9pPr marL="0" indent="0">
              <a:spcBef>
                <a:spcPts val="600"/>
              </a:spcBef>
              <a:buNone/>
              <a:defRPr sz="5000" b="0">
                <a:ln>
                  <a:solidFill>
                    <a:schemeClr val="bg2"/>
                  </a:solidFill>
                </a:ln>
                <a:noFill/>
                <a:latin typeface="Merck" panose="04040805020F02020302" pitchFamily="82" charset="0"/>
              </a:defRPr>
            </a:lvl9pPr>
          </a:lstStyle>
          <a:p>
            <a:pPr lvl="0"/>
            <a:r>
              <a:rPr lang="en-US"/>
              <a:t>00</a:t>
            </a:r>
          </a:p>
        </p:txBody>
      </p:sp>
      <p:sp>
        <p:nvSpPr>
          <p:cNvPr id="2" name="Title 1"/>
          <p:cNvSpPr>
            <a:spLocks noGrp="1"/>
          </p:cNvSpPr>
          <p:nvPr>
            <p:ph type="title" hasCustomPrompt="1"/>
          </p:nvPr>
        </p:nvSpPr>
        <p:spPr bwMode="gray">
          <a:xfrm>
            <a:off x="5951538" y="3356992"/>
            <a:ext cx="5617070" cy="2232000"/>
          </a:xfrm>
          <a:prstGeom prst="rect">
            <a:avLst/>
          </a:prstGeom>
          <a:noFill/>
        </p:spPr>
        <p:txBody>
          <a:bodyPr tIns="72000" bIns="0" anchor="t" anchorCtr="0"/>
          <a:lstStyle>
            <a:lvl1pPr>
              <a:lnSpc>
                <a:spcPct val="100000"/>
              </a:lnSpc>
              <a:defRPr sz="3600" b="0" cap="none" baseline="0">
                <a:solidFill>
                  <a:schemeClr val="accent1"/>
                </a:solidFill>
                <a:latin typeface="Merck" panose="04040805020F02020302" pitchFamily="82" charset="0"/>
              </a:defRPr>
            </a:lvl1pPr>
          </a:lstStyle>
          <a:p>
            <a:pPr lvl="0"/>
            <a:r>
              <a:rPr lang="en-US" noProof="0"/>
              <a:t>Chapter name </a:t>
            </a:r>
            <a:br>
              <a:rPr lang="en-US" noProof="0"/>
            </a:br>
            <a:r>
              <a:rPr lang="en-US" noProof="0"/>
              <a:t>in two lines </a:t>
            </a:r>
          </a:p>
        </p:txBody>
      </p:sp>
      <p:grpSp>
        <p:nvGrpSpPr>
          <p:cNvPr id="22" name="Group 9">
            <a:extLst>
              <a:ext uri="{FF2B5EF4-FFF2-40B4-BE49-F238E27FC236}">
                <a16:creationId xmlns:a16="http://schemas.microsoft.com/office/drawing/2014/main" id="{F1287BCB-FB34-41B7-927D-F95F9B409E5C}"/>
              </a:ext>
            </a:extLst>
          </p:cNvPr>
          <p:cNvGrpSpPr>
            <a:grpSpLocks noChangeAspect="1"/>
          </p:cNvGrpSpPr>
          <p:nvPr>
            <p:custDataLst>
              <p:tags r:id="rId2"/>
            </p:custDataLst>
          </p:nvPr>
        </p:nvGrpSpPr>
        <p:grpSpPr bwMode="gray">
          <a:xfrm>
            <a:off x="10539522" y="6440320"/>
            <a:ext cx="1028592" cy="162000"/>
            <a:chOff x="-4548188" y="3063875"/>
            <a:chExt cx="2741613" cy="431800"/>
          </a:xfrm>
          <a:solidFill>
            <a:schemeClr val="bg2"/>
          </a:solidFill>
        </p:grpSpPr>
        <p:sp>
          <p:nvSpPr>
            <p:cNvPr id="23" name="Freeform 9">
              <a:extLst>
                <a:ext uri="{FF2B5EF4-FFF2-40B4-BE49-F238E27FC236}">
                  <a16:creationId xmlns:a16="http://schemas.microsoft.com/office/drawing/2014/main" id="{4EE73A32-570C-436C-B4CC-D1AF2F5700F5}"/>
                </a:ext>
              </a:extLst>
            </p:cNvPr>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3">
              <a:extLst>
                <a:ext uri="{FF2B5EF4-FFF2-40B4-BE49-F238E27FC236}">
                  <a16:creationId xmlns:a16="http://schemas.microsoft.com/office/drawing/2014/main" id="{12562D50-892E-410A-BB2F-36E111F83459}"/>
                </a:ext>
              </a:extLst>
            </p:cNvPr>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0">
              <a:extLst>
                <a:ext uri="{FF2B5EF4-FFF2-40B4-BE49-F238E27FC236}">
                  <a16:creationId xmlns:a16="http://schemas.microsoft.com/office/drawing/2014/main" id="{DC9AF8D9-AA94-4445-B08E-957E3FDEC0D2}"/>
                </a:ext>
              </a:extLst>
            </p:cNvPr>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1">
              <a:extLst>
                <a:ext uri="{FF2B5EF4-FFF2-40B4-BE49-F238E27FC236}">
                  <a16:creationId xmlns:a16="http://schemas.microsoft.com/office/drawing/2014/main" id="{FE7088EE-EAD6-4413-9188-C1E3D6D9C252}"/>
                </a:ext>
              </a:extLst>
            </p:cNvPr>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2">
              <a:extLst>
                <a:ext uri="{FF2B5EF4-FFF2-40B4-BE49-F238E27FC236}">
                  <a16:creationId xmlns:a16="http://schemas.microsoft.com/office/drawing/2014/main" id="{C79EEEA4-105C-4D6D-886B-6270CD048E24}"/>
                </a:ext>
              </a:extLst>
            </p:cNvPr>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8" name="Grafik 7">
            <a:extLst>
              <a:ext uri="{FF2B5EF4-FFF2-40B4-BE49-F238E27FC236}">
                <a16:creationId xmlns:a16="http://schemas.microsoft.com/office/drawing/2014/main" id="{EF3C2268-D07A-4E72-BDF1-B88401F24104}"/>
              </a:ext>
            </a:extLst>
          </p:cNvPr>
          <p:cNvPicPr>
            <a:picLocks noChangeAspect="1"/>
          </p:cNvPicPr>
          <p:nvPr/>
        </p:nvPicPr>
        <p:blipFill rotWithShape="1">
          <a:blip r:embed="rId6"/>
          <a:srcRect l="26653"/>
          <a:stretch/>
        </p:blipFill>
        <p:spPr>
          <a:xfrm>
            <a:off x="0" y="1989138"/>
            <a:ext cx="5521960" cy="3605130"/>
          </a:xfrm>
          <a:prstGeom prst="rect">
            <a:avLst/>
          </a:prstGeom>
        </p:spPr>
      </p:pic>
    </p:spTree>
    <p:extLst>
      <p:ext uri="{BB962C8B-B14F-4D97-AF65-F5344CB8AC3E}">
        <p14:creationId xmlns:p14="http://schemas.microsoft.com/office/powerpoint/2010/main" val="1080231039"/>
      </p:ext>
    </p:extLst>
  </p:cSld>
  <p:clrMapOvr>
    <a:masterClrMapping/>
  </p:clrMapOvr>
  <p:extLst>
    <p:ext uri="{DCECCB84-F9BA-43D5-87BE-67443E8EF086}">
      <p15:sldGuideLst xmlns:p15="http://schemas.microsoft.com/office/powerpoint/2012/main">
        <p15:guide id="2" orient="horz" pos="3521">
          <p15:clr>
            <a:srgbClr val="FBAE40"/>
          </p15:clr>
        </p15:guide>
        <p15:guide id="3" pos="3749">
          <p15:clr>
            <a:srgbClr val="FBAE40"/>
          </p15:clr>
        </p15:guide>
        <p15:guide id="4" orient="horz" pos="2795">
          <p15:clr>
            <a:srgbClr val="FBAE40"/>
          </p15:clr>
        </p15:guide>
        <p15:guide id="5" orient="horz" pos="125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ac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p:cNvSpPr/>
          <p:nvPr/>
        </p:nvSpPr>
        <p:spPr bwMode="gray">
          <a:xfrm>
            <a:off x="1" y="0"/>
            <a:ext cx="12192000" cy="6858001"/>
          </a:xfrm>
          <a:prstGeom prst="rect">
            <a:avLst/>
          </a:prstGeom>
          <a:solidFill>
            <a:srgbClr val="FFC832"/>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8" name="Text Placeholder AP1 Details"/>
          <p:cNvSpPr>
            <a:spLocks noGrp="1"/>
          </p:cNvSpPr>
          <p:nvPr>
            <p:ph type="body" sz="quarter" idx="19" hasCustomPrompt="1"/>
          </p:nvPr>
        </p:nvSpPr>
        <p:spPr bwMode="gray">
          <a:xfrm>
            <a:off x="624092" y="1988680"/>
            <a:ext cx="2519767" cy="1655976"/>
          </a:xfrm>
          <a:prstGeom prst="rect">
            <a:avLst/>
          </a:prstGeom>
          <a:noFill/>
        </p:spPr>
        <p:txBody>
          <a:bodyPr vert="horz" lIns="0" tIns="0" rIns="0" bIns="0" rtlCol="0" anchor="t" anchorCtr="0">
            <a:noAutofit/>
          </a:bodyPr>
          <a:lstStyle>
            <a:lvl1pPr>
              <a:spcBef>
                <a:spcPts val="0"/>
              </a:spcBef>
              <a:defRPr lang="de-DE" sz="1200" b="0" kern="1200" baseline="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spcBef>
                <a:spcPts val="0"/>
              </a:spcBef>
              <a:buClr>
                <a:srgbClr val="52328F"/>
              </a:buClr>
            </a:pPr>
            <a:r>
              <a:rPr lang="en-US" noProof="0"/>
              <a:t>Add your contact details here.</a:t>
            </a:r>
          </a:p>
        </p:txBody>
      </p:sp>
      <p:sp>
        <p:nvSpPr>
          <p:cNvPr id="4" name="Text Placeholder AP1 Name"/>
          <p:cNvSpPr>
            <a:spLocks noGrp="1"/>
          </p:cNvSpPr>
          <p:nvPr>
            <p:ph type="body" sz="quarter" idx="10" hasCustomPrompt="1"/>
          </p:nvPr>
        </p:nvSpPr>
        <p:spPr bwMode="gray">
          <a:xfrm>
            <a:off x="624001" y="1484784"/>
            <a:ext cx="251985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1" i="0" kern="1200" cap="none" baseline="0" noProof="0" dirty="0">
                <a:solidFill>
                  <a:schemeClr val="accent1"/>
                </a:solidFill>
                <a:latin typeface="+mj-lt"/>
                <a:ea typeface="Verdana" panose="020B0604030504040204" pitchFamily="34" charset="0"/>
                <a:cs typeface="Verdana" panose="020B0604030504040204" pitchFamily="34" charset="0"/>
              </a:defRPr>
            </a:lvl1pPr>
            <a:lvl2pPr marL="0" indent="0">
              <a:spcBef>
                <a:spcPts val="0"/>
              </a:spcBef>
              <a:spcAft>
                <a:spcPts val="0"/>
              </a:spcAft>
              <a:buNone/>
              <a:defRPr sz="1400" b="1" cap="none">
                <a:solidFill>
                  <a:schemeClr val="accent1"/>
                </a:solidFill>
                <a:latin typeface="+mj-lt"/>
              </a:defRPr>
            </a:lvl2pPr>
            <a:lvl3pPr marL="0" indent="0">
              <a:spcBef>
                <a:spcPts val="0"/>
              </a:spcBef>
              <a:spcAft>
                <a:spcPts val="0"/>
              </a:spcAft>
              <a:buNone/>
              <a:defRPr sz="1400" b="1" cap="none">
                <a:solidFill>
                  <a:schemeClr val="accent1"/>
                </a:solidFill>
                <a:latin typeface="+mj-lt"/>
              </a:defRPr>
            </a:lvl3pPr>
            <a:lvl4pPr marL="0" indent="0">
              <a:spcBef>
                <a:spcPts val="0"/>
              </a:spcBef>
              <a:spcAft>
                <a:spcPts val="0"/>
              </a:spcAft>
              <a:buNone/>
              <a:defRPr sz="1400" b="1" cap="none">
                <a:solidFill>
                  <a:schemeClr val="accent1"/>
                </a:solidFill>
                <a:latin typeface="+mj-lt"/>
              </a:defRPr>
            </a:lvl4pPr>
            <a:lvl5pPr marL="0" indent="0">
              <a:spcBef>
                <a:spcPts val="0"/>
              </a:spcBef>
              <a:spcAft>
                <a:spcPts val="0"/>
              </a:spcAft>
              <a:buNone/>
              <a:defRPr sz="1400" b="1" cap="none">
                <a:solidFill>
                  <a:schemeClr val="accent1"/>
                </a:solidFill>
                <a:latin typeface="+mj-lt"/>
              </a:defRPr>
            </a:lvl5pPr>
            <a:lvl6pPr marL="0" indent="0">
              <a:spcBef>
                <a:spcPts val="0"/>
              </a:spcBef>
              <a:spcAft>
                <a:spcPts val="0"/>
              </a:spcAft>
              <a:buNone/>
              <a:defRPr sz="1400" b="1" cap="none">
                <a:solidFill>
                  <a:schemeClr val="accent1"/>
                </a:solidFill>
                <a:latin typeface="+mj-lt"/>
              </a:defRPr>
            </a:lvl6pPr>
            <a:lvl7pPr marL="0" indent="0">
              <a:spcBef>
                <a:spcPts val="0"/>
              </a:spcBef>
              <a:spcAft>
                <a:spcPts val="0"/>
              </a:spcAft>
              <a:buNone/>
              <a:defRPr sz="1400" b="1" cap="none">
                <a:solidFill>
                  <a:schemeClr val="accent1"/>
                </a:solidFill>
                <a:latin typeface="+mj-lt"/>
              </a:defRPr>
            </a:lvl7pPr>
            <a:lvl8pPr marL="0" indent="0">
              <a:spcBef>
                <a:spcPts val="0"/>
              </a:spcBef>
              <a:spcAft>
                <a:spcPts val="0"/>
              </a:spcAft>
              <a:buNone/>
              <a:defRPr sz="1400" b="1" cap="none">
                <a:solidFill>
                  <a:schemeClr val="accent1"/>
                </a:solidFill>
                <a:latin typeface="+mj-lt"/>
              </a:defRPr>
            </a:lvl8pPr>
            <a:lvl9pPr marL="0" indent="0">
              <a:spcBef>
                <a:spcPts val="0"/>
              </a:spcBef>
              <a:spcAft>
                <a:spcPts val="0"/>
              </a:spcAft>
              <a:buNone/>
              <a:defRPr sz="1400" b="1" cap="none">
                <a:solidFill>
                  <a:schemeClr val="accent1"/>
                </a:solidFill>
                <a:latin typeface="+mj-lt"/>
              </a:defRPr>
            </a:lvl9pPr>
          </a:lstStyle>
          <a:p>
            <a:pPr lvl="0"/>
            <a:r>
              <a:rPr lang="en-US" noProof="0"/>
              <a:t>Contact (Please edit)</a:t>
            </a:r>
          </a:p>
        </p:txBody>
      </p:sp>
      <p:sp>
        <p:nvSpPr>
          <p:cNvPr id="15" name="Text Placeholder AP1 Details">
            <a:extLst>
              <a:ext uri="{FF2B5EF4-FFF2-40B4-BE49-F238E27FC236}">
                <a16:creationId xmlns:a16="http://schemas.microsoft.com/office/drawing/2014/main" id="{9D7C527A-CAFB-4E43-BB5A-9A14F133AFF5}"/>
              </a:ext>
            </a:extLst>
          </p:cNvPr>
          <p:cNvSpPr>
            <a:spLocks noGrp="1"/>
          </p:cNvSpPr>
          <p:nvPr>
            <p:ph type="body" sz="quarter" idx="20" hasCustomPrompt="1"/>
          </p:nvPr>
        </p:nvSpPr>
        <p:spPr bwMode="gray">
          <a:xfrm>
            <a:off x="623483" y="4437320"/>
            <a:ext cx="2519767" cy="1655976"/>
          </a:xfrm>
          <a:prstGeom prst="rect">
            <a:avLst/>
          </a:prstGeom>
          <a:noFill/>
        </p:spPr>
        <p:txBody>
          <a:bodyPr vert="horz" lIns="0" tIns="0" rIns="0" bIns="0" rtlCol="0" anchor="t" anchorCtr="0">
            <a:noAutofit/>
          </a:bodyPr>
          <a:lstStyle>
            <a:lvl1pPr>
              <a:spcBef>
                <a:spcPts val="0"/>
              </a:spcBef>
              <a:defRPr lang="de-DE" sz="1200" b="0" kern="1200" baseline="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spcBef>
                <a:spcPts val="0"/>
              </a:spcBef>
              <a:buClr>
                <a:srgbClr val="52328F"/>
              </a:buClr>
            </a:pPr>
            <a:r>
              <a:rPr lang="en-US" noProof="0"/>
              <a:t>Add your contact details here.</a:t>
            </a:r>
          </a:p>
        </p:txBody>
      </p:sp>
      <p:sp>
        <p:nvSpPr>
          <p:cNvPr id="16" name="Text Placeholder AP1 Name">
            <a:extLst>
              <a:ext uri="{FF2B5EF4-FFF2-40B4-BE49-F238E27FC236}">
                <a16:creationId xmlns:a16="http://schemas.microsoft.com/office/drawing/2014/main" id="{2DA765EA-89A4-44AC-8EE1-E408FFA54A8D}"/>
              </a:ext>
            </a:extLst>
          </p:cNvPr>
          <p:cNvSpPr>
            <a:spLocks noGrp="1"/>
          </p:cNvSpPr>
          <p:nvPr>
            <p:ph type="body" sz="quarter" idx="21" hasCustomPrompt="1"/>
          </p:nvPr>
        </p:nvSpPr>
        <p:spPr bwMode="gray">
          <a:xfrm>
            <a:off x="623392" y="3933424"/>
            <a:ext cx="251985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1" i="0" kern="1200" cap="none" baseline="0" noProof="0" dirty="0">
                <a:solidFill>
                  <a:schemeClr val="accent1"/>
                </a:solidFill>
                <a:latin typeface="+mj-lt"/>
                <a:ea typeface="Verdana" panose="020B0604030504040204" pitchFamily="34" charset="0"/>
                <a:cs typeface="Verdana" panose="020B0604030504040204" pitchFamily="34" charset="0"/>
              </a:defRPr>
            </a:lvl1pPr>
            <a:lvl2pPr marL="0" indent="0">
              <a:spcBef>
                <a:spcPts val="0"/>
              </a:spcBef>
              <a:spcAft>
                <a:spcPts val="0"/>
              </a:spcAft>
              <a:buNone/>
              <a:defRPr sz="1400" b="1" cap="none">
                <a:solidFill>
                  <a:schemeClr val="accent1"/>
                </a:solidFill>
                <a:latin typeface="+mj-lt"/>
              </a:defRPr>
            </a:lvl2pPr>
            <a:lvl3pPr marL="0" indent="0">
              <a:spcBef>
                <a:spcPts val="0"/>
              </a:spcBef>
              <a:spcAft>
                <a:spcPts val="0"/>
              </a:spcAft>
              <a:buNone/>
              <a:defRPr sz="1400" b="1" cap="none">
                <a:solidFill>
                  <a:schemeClr val="accent1"/>
                </a:solidFill>
                <a:latin typeface="+mj-lt"/>
              </a:defRPr>
            </a:lvl3pPr>
            <a:lvl4pPr marL="0" indent="0">
              <a:spcBef>
                <a:spcPts val="0"/>
              </a:spcBef>
              <a:spcAft>
                <a:spcPts val="0"/>
              </a:spcAft>
              <a:buNone/>
              <a:defRPr sz="1400" b="1" cap="none">
                <a:solidFill>
                  <a:schemeClr val="accent1"/>
                </a:solidFill>
                <a:latin typeface="+mj-lt"/>
              </a:defRPr>
            </a:lvl4pPr>
            <a:lvl5pPr marL="0" indent="0">
              <a:spcBef>
                <a:spcPts val="0"/>
              </a:spcBef>
              <a:spcAft>
                <a:spcPts val="0"/>
              </a:spcAft>
              <a:buNone/>
              <a:defRPr sz="1400" b="1" cap="none">
                <a:solidFill>
                  <a:schemeClr val="accent1"/>
                </a:solidFill>
                <a:latin typeface="+mj-lt"/>
              </a:defRPr>
            </a:lvl5pPr>
            <a:lvl6pPr marL="0" indent="0">
              <a:spcBef>
                <a:spcPts val="0"/>
              </a:spcBef>
              <a:spcAft>
                <a:spcPts val="0"/>
              </a:spcAft>
              <a:buNone/>
              <a:defRPr sz="1400" b="1" cap="none">
                <a:solidFill>
                  <a:schemeClr val="accent1"/>
                </a:solidFill>
                <a:latin typeface="+mj-lt"/>
              </a:defRPr>
            </a:lvl6pPr>
            <a:lvl7pPr marL="0" indent="0">
              <a:spcBef>
                <a:spcPts val="0"/>
              </a:spcBef>
              <a:spcAft>
                <a:spcPts val="0"/>
              </a:spcAft>
              <a:buNone/>
              <a:defRPr sz="1400" b="1" cap="none">
                <a:solidFill>
                  <a:schemeClr val="accent1"/>
                </a:solidFill>
                <a:latin typeface="+mj-lt"/>
              </a:defRPr>
            </a:lvl7pPr>
            <a:lvl8pPr marL="0" indent="0">
              <a:spcBef>
                <a:spcPts val="0"/>
              </a:spcBef>
              <a:spcAft>
                <a:spcPts val="0"/>
              </a:spcAft>
              <a:buNone/>
              <a:defRPr sz="1400" b="1" cap="none">
                <a:solidFill>
                  <a:schemeClr val="accent1"/>
                </a:solidFill>
                <a:latin typeface="+mj-lt"/>
              </a:defRPr>
            </a:lvl8pPr>
            <a:lvl9pPr marL="0" indent="0">
              <a:spcBef>
                <a:spcPts val="0"/>
              </a:spcBef>
              <a:spcAft>
                <a:spcPts val="0"/>
              </a:spcAft>
              <a:buNone/>
              <a:defRPr sz="1400" b="1" cap="none">
                <a:solidFill>
                  <a:schemeClr val="accent1"/>
                </a:solidFill>
                <a:latin typeface="+mj-lt"/>
              </a:defRPr>
            </a:lvl9pPr>
          </a:lstStyle>
          <a:p>
            <a:pPr lvl="0"/>
            <a:r>
              <a:rPr lang="en-US" noProof="0"/>
              <a:t>Contact (Please edit)</a:t>
            </a:r>
          </a:p>
        </p:txBody>
      </p:sp>
      <p:sp>
        <p:nvSpPr>
          <p:cNvPr id="23" name="Text Placeholder AP1 Details">
            <a:extLst>
              <a:ext uri="{FF2B5EF4-FFF2-40B4-BE49-F238E27FC236}">
                <a16:creationId xmlns:a16="http://schemas.microsoft.com/office/drawing/2014/main" id="{1AD3E7E9-BC92-4039-9FE8-8B9BE2F1DFF8}"/>
              </a:ext>
            </a:extLst>
          </p:cNvPr>
          <p:cNvSpPr>
            <a:spLocks noGrp="1"/>
          </p:cNvSpPr>
          <p:nvPr>
            <p:ph type="body" sz="quarter" idx="22" hasCustomPrompt="1"/>
          </p:nvPr>
        </p:nvSpPr>
        <p:spPr bwMode="gray">
          <a:xfrm>
            <a:off x="3431795" y="4436952"/>
            <a:ext cx="2519767" cy="1655976"/>
          </a:xfrm>
          <a:prstGeom prst="rect">
            <a:avLst/>
          </a:prstGeom>
          <a:noFill/>
        </p:spPr>
        <p:txBody>
          <a:bodyPr vert="horz" lIns="0" tIns="0" rIns="0" bIns="0" rtlCol="0" anchor="t" anchorCtr="0">
            <a:noAutofit/>
          </a:bodyPr>
          <a:lstStyle>
            <a:lvl1pPr>
              <a:spcBef>
                <a:spcPts val="0"/>
              </a:spcBef>
              <a:defRPr lang="de-DE" sz="1200" b="0" kern="1200" baseline="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spcBef>
                <a:spcPts val="0"/>
              </a:spcBef>
              <a:buClr>
                <a:srgbClr val="52328F"/>
              </a:buClr>
            </a:pPr>
            <a:r>
              <a:rPr lang="en-US" noProof="0"/>
              <a:t>Add your contact details here.</a:t>
            </a:r>
          </a:p>
        </p:txBody>
      </p:sp>
      <p:sp>
        <p:nvSpPr>
          <p:cNvPr id="24" name="Text Placeholder AP1 Name">
            <a:extLst>
              <a:ext uri="{FF2B5EF4-FFF2-40B4-BE49-F238E27FC236}">
                <a16:creationId xmlns:a16="http://schemas.microsoft.com/office/drawing/2014/main" id="{D51B0300-283C-4494-BC4A-3BC70337C112}"/>
              </a:ext>
            </a:extLst>
          </p:cNvPr>
          <p:cNvSpPr>
            <a:spLocks noGrp="1"/>
          </p:cNvSpPr>
          <p:nvPr>
            <p:ph type="body" sz="quarter" idx="23" hasCustomPrompt="1"/>
          </p:nvPr>
        </p:nvSpPr>
        <p:spPr bwMode="gray">
          <a:xfrm>
            <a:off x="3431704" y="3933056"/>
            <a:ext cx="251985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1" i="0" kern="1200" cap="none" baseline="0" noProof="0" dirty="0">
                <a:solidFill>
                  <a:schemeClr val="accent1"/>
                </a:solidFill>
                <a:latin typeface="+mj-lt"/>
                <a:ea typeface="Verdana" panose="020B0604030504040204" pitchFamily="34" charset="0"/>
                <a:cs typeface="Verdana" panose="020B0604030504040204" pitchFamily="34" charset="0"/>
              </a:defRPr>
            </a:lvl1pPr>
            <a:lvl2pPr marL="0" indent="0">
              <a:spcBef>
                <a:spcPts val="0"/>
              </a:spcBef>
              <a:spcAft>
                <a:spcPts val="0"/>
              </a:spcAft>
              <a:buNone/>
              <a:defRPr sz="1400" b="1" cap="none">
                <a:solidFill>
                  <a:schemeClr val="accent1"/>
                </a:solidFill>
                <a:latin typeface="+mj-lt"/>
              </a:defRPr>
            </a:lvl2pPr>
            <a:lvl3pPr marL="0" indent="0">
              <a:spcBef>
                <a:spcPts val="0"/>
              </a:spcBef>
              <a:spcAft>
                <a:spcPts val="0"/>
              </a:spcAft>
              <a:buNone/>
              <a:defRPr sz="1400" b="1" cap="none">
                <a:solidFill>
                  <a:schemeClr val="accent1"/>
                </a:solidFill>
                <a:latin typeface="+mj-lt"/>
              </a:defRPr>
            </a:lvl3pPr>
            <a:lvl4pPr marL="0" indent="0">
              <a:spcBef>
                <a:spcPts val="0"/>
              </a:spcBef>
              <a:spcAft>
                <a:spcPts val="0"/>
              </a:spcAft>
              <a:buNone/>
              <a:defRPr sz="1400" b="1" cap="none">
                <a:solidFill>
                  <a:schemeClr val="accent1"/>
                </a:solidFill>
                <a:latin typeface="+mj-lt"/>
              </a:defRPr>
            </a:lvl4pPr>
            <a:lvl5pPr marL="0" indent="0">
              <a:spcBef>
                <a:spcPts val="0"/>
              </a:spcBef>
              <a:spcAft>
                <a:spcPts val="0"/>
              </a:spcAft>
              <a:buNone/>
              <a:defRPr sz="1400" b="1" cap="none">
                <a:solidFill>
                  <a:schemeClr val="accent1"/>
                </a:solidFill>
                <a:latin typeface="+mj-lt"/>
              </a:defRPr>
            </a:lvl5pPr>
            <a:lvl6pPr marL="0" indent="0">
              <a:spcBef>
                <a:spcPts val="0"/>
              </a:spcBef>
              <a:spcAft>
                <a:spcPts val="0"/>
              </a:spcAft>
              <a:buNone/>
              <a:defRPr sz="1400" b="1" cap="none">
                <a:solidFill>
                  <a:schemeClr val="accent1"/>
                </a:solidFill>
                <a:latin typeface="+mj-lt"/>
              </a:defRPr>
            </a:lvl6pPr>
            <a:lvl7pPr marL="0" indent="0">
              <a:spcBef>
                <a:spcPts val="0"/>
              </a:spcBef>
              <a:spcAft>
                <a:spcPts val="0"/>
              </a:spcAft>
              <a:buNone/>
              <a:defRPr sz="1400" b="1" cap="none">
                <a:solidFill>
                  <a:schemeClr val="accent1"/>
                </a:solidFill>
                <a:latin typeface="+mj-lt"/>
              </a:defRPr>
            </a:lvl7pPr>
            <a:lvl8pPr marL="0" indent="0">
              <a:spcBef>
                <a:spcPts val="0"/>
              </a:spcBef>
              <a:spcAft>
                <a:spcPts val="0"/>
              </a:spcAft>
              <a:buNone/>
              <a:defRPr sz="1400" b="1" cap="none">
                <a:solidFill>
                  <a:schemeClr val="accent1"/>
                </a:solidFill>
                <a:latin typeface="+mj-lt"/>
              </a:defRPr>
            </a:lvl8pPr>
            <a:lvl9pPr marL="0" indent="0">
              <a:spcBef>
                <a:spcPts val="0"/>
              </a:spcBef>
              <a:spcAft>
                <a:spcPts val="0"/>
              </a:spcAft>
              <a:buNone/>
              <a:defRPr sz="1400" b="1" cap="none">
                <a:solidFill>
                  <a:schemeClr val="accent1"/>
                </a:solidFill>
                <a:latin typeface="+mj-lt"/>
              </a:defRPr>
            </a:lvl9pPr>
          </a:lstStyle>
          <a:p>
            <a:pPr lvl="0"/>
            <a:r>
              <a:rPr lang="en-US" noProof="0"/>
              <a:t>Contact (Please edit)</a:t>
            </a:r>
          </a:p>
        </p:txBody>
      </p:sp>
      <p:pic>
        <p:nvPicPr>
          <p:cNvPr id="12" name="Grafik 11">
            <a:extLst>
              <a:ext uri="{FF2B5EF4-FFF2-40B4-BE49-F238E27FC236}">
                <a16:creationId xmlns:a16="http://schemas.microsoft.com/office/drawing/2014/main" id="{45447195-E317-454C-939A-8220142C6326}"/>
              </a:ext>
            </a:extLst>
          </p:cNvPr>
          <p:cNvPicPr>
            <a:picLocks noChangeAspect="1"/>
          </p:cNvPicPr>
          <p:nvPr/>
        </p:nvPicPr>
        <p:blipFill>
          <a:blip r:embed="rId5"/>
          <a:stretch>
            <a:fillRect/>
          </a:stretch>
        </p:blipFill>
        <p:spPr>
          <a:xfrm>
            <a:off x="7300913" y="3966396"/>
            <a:ext cx="4267604" cy="2122926"/>
          </a:xfrm>
          <a:prstGeom prst="rect">
            <a:avLst/>
          </a:prstGeom>
        </p:spPr>
      </p:pic>
    </p:spTree>
    <p:extLst>
      <p:ext uri="{BB962C8B-B14F-4D97-AF65-F5344CB8AC3E}">
        <p14:creationId xmlns:p14="http://schemas.microsoft.com/office/powerpoint/2010/main" val="3870568838"/>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Only Title without Elements">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bwMode="gray"/>
        <p:txBody>
          <a:bodyPr/>
          <a:lstStyle/>
          <a:p>
            <a:r>
              <a:rPr lang="en-US" noProof="0"/>
              <a:t>Summer InnovationBlast Demo | November the 24th 2022</a:t>
            </a:r>
          </a:p>
        </p:txBody>
      </p:sp>
      <p:sp>
        <p:nvSpPr>
          <p:cNvPr id="8" name="Slide Number Placeholder 7"/>
          <p:cNvSpPr>
            <a:spLocks noGrp="1"/>
          </p:cNvSpPr>
          <p:nvPr>
            <p:ph type="sldNum" sz="quarter" idx="11"/>
          </p:nvPr>
        </p:nvSpPr>
        <p:spPr bwMode="gray"/>
        <p:txBody>
          <a:bodyPr/>
          <a:lstStyle/>
          <a:p>
            <a:fld id="{FD5E7EB4-4CDF-47BB-AF16-07782904B863}" type="slidenum">
              <a:rPr lang="en-US" noProof="0" smtClean="0"/>
              <a:pPr/>
              <a:t>‹#›</a:t>
            </a:fld>
            <a:endParaRPr lang="en-US" noProof="0"/>
          </a:p>
        </p:txBody>
      </p:sp>
      <p:sp>
        <p:nvSpPr>
          <p:cNvPr id="6"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2" name="Title 1"/>
          <p:cNvSpPr>
            <a:spLocks noGrp="1"/>
          </p:cNvSpPr>
          <p:nvPr>
            <p:ph type="title" hasCustomPrompt="1"/>
          </p:nvPr>
        </p:nvSpPr>
        <p:spPr bwMode="gray">
          <a:xfrm>
            <a:off x="623888" y="730800"/>
            <a:ext cx="10944225" cy="325952"/>
          </a:xfrm>
        </p:spPr>
        <p:txBody>
          <a:bodyPr/>
          <a:lstStyle/>
          <a:p>
            <a:r>
              <a:rPr lang="en-US"/>
              <a:t>Insert slide title here (max. 2 lines | max. 1 line with Action Title)</a:t>
            </a:r>
          </a:p>
        </p:txBody>
      </p:sp>
    </p:spTree>
    <p:extLst>
      <p:ext uri="{BB962C8B-B14F-4D97-AF65-F5344CB8AC3E}">
        <p14:creationId xmlns:p14="http://schemas.microsoft.com/office/powerpoint/2010/main" val="381248429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0" name="Rechteck 19">
            <a:extLst>
              <a:ext uri="{FF2B5EF4-FFF2-40B4-BE49-F238E27FC236}">
                <a16:creationId xmlns:a16="http://schemas.microsoft.com/office/drawing/2014/main" id="{2DD0114F-03FB-4D6B-B922-2EE26B37D628}"/>
              </a:ext>
            </a:extLst>
          </p:cNvPr>
          <p:cNvSpPr/>
          <p:nvPr/>
        </p:nvSpPr>
        <p:spPr bwMode="gray">
          <a:xfrm>
            <a:off x="0" y="0"/>
            <a:ext cx="12192000" cy="6859983"/>
          </a:xfrm>
          <a:prstGeom prst="rect">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sp>
        <p:nvSpPr>
          <p:cNvPr id="21" name="Freihandform: Form 20">
            <a:extLst>
              <a:ext uri="{FF2B5EF4-FFF2-40B4-BE49-F238E27FC236}">
                <a16:creationId xmlns:a16="http://schemas.microsoft.com/office/drawing/2014/main" id="{AEE536F0-DBE9-4444-A609-78E65AD266D0}"/>
              </a:ext>
            </a:extLst>
          </p:cNvPr>
          <p:cNvSpPr/>
          <p:nvPr/>
        </p:nvSpPr>
        <p:spPr bwMode="gray">
          <a:xfrm>
            <a:off x="0" y="0"/>
            <a:ext cx="12192000" cy="6862698"/>
          </a:xfrm>
          <a:custGeom>
            <a:avLst/>
            <a:gdLst>
              <a:gd name="connsiteX0" fmla="*/ 12191998 w 12192000"/>
              <a:gd name="connsiteY0" fmla="*/ 0 h 6890082"/>
              <a:gd name="connsiteX1" fmla="*/ 12192000 w 12192000"/>
              <a:gd name="connsiteY1" fmla="*/ 0 h 6890082"/>
              <a:gd name="connsiteX2" fmla="*/ 12192000 w 12192000"/>
              <a:gd name="connsiteY2" fmla="*/ 6890082 h 6890082"/>
              <a:gd name="connsiteX3" fmla="*/ 6158531 w 12192000"/>
              <a:gd name="connsiteY3" fmla="*/ 6890082 h 6890082"/>
              <a:gd name="connsiteX4" fmla="*/ 5952547 w 12192000"/>
              <a:gd name="connsiteY4" fmla="*/ 6647126 h 6890082"/>
              <a:gd name="connsiteX5" fmla="*/ 6203115 w 12192000"/>
              <a:gd name="connsiteY5" fmla="*/ 5944523 h 6890082"/>
              <a:gd name="connsiteX6" fmla="*/ 10703008 w 12192000"/>
              <a:gd name="connsiteY6" fmla="*/ 5113064 h 6890082"/>
              <a:gd name="connsiteX7" fmla="*/ 11687999 w 12192000"/>
              <a:gd name="connsiteY7" fmla="*/ 4275586 h 6890082"/>
              <a:gd name="connsiteX8" fmla="*/ 12191998 w 12192000"/>
              <a:gd name="connsiteY8" fmla="*/ 2859829 h 6890082"/>
              <a:gd name="connsiteX9" fmla="*/ 0 w 12192000"/>
              <a:gd name="connsiteY9" fmla="*/ 0 h 6890082"/>
              <a:gd name="connsiteX10" fmla="*/ 811283 w 12192000"/>
              <a:gd name="connsiteY10" fmla="*/ 0 h 6890082"/>
              <a:gd name="connsiteX11" fmla="*/ 683826 w 12192000"/>
              <a:gd name="connsiteY11" fmla="*/ 358777 h 6890082"/>
              <a:gd name="connsiteX12" fmla="*/ 917561 w 12192000"/>
              <a:gd name="connsiteY12" fmla="*/ 1631603 h 6890082"/>
              <a:gd name="connsiteX13" fmla="*/ 5386170 w 12192000"/>
              <a:gd name="connsiteY13" fmla="*/ 6890082 h 6890082"/>
              <a:gd name="connsiteX14" fmla="*/ 0 w 12192000"/>
              <a:gd name="connsiteY14" fmla="*/ 6890082 h 689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90082">
                <a:moveTo>
                  <a:pt x="12191998" y="0"/>
                </a:moveTo>
                <a:lnTo>
                  <a:pt x="12192000" y="0"/>
                </a:lnTo>
                <a:lnTo>
                  <a:pt x="12192000" y="6890082"/>
                </a:lnTo>
                <a:lnTo>
                  <a:pt x="6158531" y="6890082"/>
                </a:lnTo>
                <a:lnTo>
                  <a:pt x="5952547" y="6647126"/>
                </a:lnTo>
                <a:cubicBezTo>
                  <a:pt x="5687330" y="6334190"/>
                  <a:pt x="5798688" y="6018789"/>
                  <a:pt x="6203115" y="5944523"/>
                </a:cubicBezTo>
                <a:lnTo>
                  <a:pt x="10703008" y="5113064"/>
                </a:lnTo>
                <a:cubicBezTo>
                  <a:pt x="11107436" y="5038797"/>
                  <a:pt x="11551266" y="4662335"/>
                  <a:pt x="11687999" y="4275586"/>
                </a:cubicBezTo>
                <a:lnTo>
                  <a:pt x="12191998" y="2859829"/>
                </a:lnTo>
                <a:close/>
                <a:moveTo>
                  <a:pt x="0" y="0"/>
                </a:moveTo>
                <a:lnTo>
                  <a:pt x="811283" y="0"/>
                </a:lnTo>
                <a:lnTo>
                  <a:pt x="683826" y="358777"/>
                </a:lnTo>
                <a:cubicBezTo>
                  <a:pt x="547099" y="745526"/>
                  <a:pt x="652347" y="1318668"/>
                  <a:pt x="917561" y="1631603"/>
                </a:cubicBezTo>
                <a:lnTo>
                  <a:pt x="5386170" y="6890082"/>
                </a:lnTo>
                <a:lnTo>
                  <a:pt x="0" y="6890082"/>
                </a:lnTo>
                <a:close/>
              </a:path>
            </a:pathLst>
          </a:custGeom>
          <a:solidFill>
            <a:schemeClr val="accent4"/>
          </a:solidFill>
          <a:ln w="9525" cap="flat" cmpd="sng" algn="ctr">
            <a:noFill/>
            <a:prstDash val="solid"/>
          </a:ln>
          <a:effectLst/>
        </p:spPr>
        <p:txBody>
          <a:bodyPr wrap="square" rtlCol="0" anchor="ctr" anchorCtr="0">
            <a:noAutofit/>
          </a:bodyPr>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sp>
        <p:nvSpPr>
          <p:cNvPr id="26" name="Freihandform: Form 25">
            <a:extLst>
              <a:ext uri="{FF2B5EF4-FFF2-40B4-BE49-F238E27FC236}">
                <a16:creationId xmlns:a16="http://schemas.microsoft.com/office/drawing/2014/main" id="{0F971513-164C-4CED-A791-4C6FF8955F80}"/>
              </a:ext>
            </a:extLst>
          </p:cNvPr>
          <p:cNvSpPr/>
          <p:nvPr/>
        </p:nvSpPr>
        <p:spPr bwMode="gray">
          <a:xfrm>
            <a:off x="0" y="3429001"/>
            <a:ext cx="3725426" cy="3429000"/>
          </a:xfrm>
          <a:custGeom>
            <a:avLst/>
            <a:gdLst>
              <a:gd name="connsiteX0" fmla="*/ 1459292 w 3728270"/>
              <a:gd name="connsiteY0" fmla="*/ 13 h 3429003"/>
              <a:gd name="connsiteX1" fmla="*/ 1969912 w 3728270"/>
              <a:gd name="connsiteY1" fmla="*/ 224326 h 3429003"/>
              <a:gd name="connsiteX2" fmla="*/ 3591967 w 3728270"/>
              <a:gd name="connsiteY2" fmla="*/ 2184328 h 3429003"/>
              <a:gd name="connsiteX3" fmla="*/ 3696334 w 3728270"/>
              <a:gd name="connsiteY3" fmla="*/ 2801324 h 3429003"/>
              <a:gd name="connsiteX4" fmla="*/ 3463033 w 3728270"/>
              <a:gd name="connsiteY4" fmla="*/ 3429003 h 3429003"/>
              <a:gd name="connsiteX5" fmla="*/ 0 w 3728270"/>
              <a:gd name="connsiteY5" fmla="*/ 3429003 h 3429003"/>
              <a:gd name="connsiteX6" fmla="*/ 0 w 3728270"/>
              <a:gd name="connsiteY6" fmla="*/ 239519 h 3429003"/>
              <a:gd name="connsiteX7" fmla="*/ 1382915 w 3728270"/>
              <a:gd name="connsiteY7" fmla="*/ 6406 h 3429003"/>
              <a:gd name="connsiteX8" fmla="*/ 1459292 w 3728270"/>
              <a:gd name="connsiteY8" fmla="*/ 13 h 3429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28270" h="3429003">
                <a:moveTo>
                  <a:pt x="1459292" y="13"/>
                </a:moveTo>
                <a:cubicBezTo>
                  <a:pt x="1643048" y="-1264"/>
                  <a:pt x="1859041" y="90506"/>
                  <a:pt x="1969912" y="224326"/>
                </a:cubicBezTo>
                <a:lnTo>
                  <a:pt x="3591967" y="2184328"/>
                </a:lnTo>
                <a:cubicBezTo>
                  <a:pt x="3718677" y="2337268"/>
                  <a:pt x="3765438" y="2615182"/>
                  <a:pt x="3696334" y="2801324"/>
                </a:cubicBezTo>
                <a:lnTo>
                  <a:pt x="3463033" y="3429003"/>
                </a:lnTo>
                <a:lnTo>
                  <a:pt x="0" y="3429003"/>
                </a:lnTo>
                <a:lnTo>
                  <a:pt x="0" y="239519"/>
                </a:lnTo>
                <a:lnTo>
                  <a:pt x="1382915" y="6406"/>
                </a:lnTo>
                <a:cubicBezTo>
                  <a:pt x="1407450" y="2277"/>
                  <a:pt x="1433042" y="196"/>
                  <a:pt x="1459292" y="13"/>
                </a:cubicBezTo>
                <a:close/>
              </a:path>
            </a:pathLst>
          </a:cu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sp>
        <p:nvSpPr>
          <p:cNvPr id="7" name="Text Placeholder 12"/>
          <p:cNvSpPr>
            <a:spLocks noGrp="1"/>
          </p:cNvSpPr>
          <p:nvPr>
            <p:ph type="body" sz="quarter" idx="10" hasCustomPrompt="1"/>
          </p:nvPr>
        </p:nvSpPr>
        <p:spPr bwMode="gray">
          <a:xfrm>
            <a:off x="4080274" y="3597205"/>
            <a:ext cx="6552236" cy="576262"/>
          </a:xfrm>
          <a:prstGeom prst="rect">
            <a:avLst/>
          </a:prstGeom>
        </p:spPr>
        <p:txBody>
          <a:bodyPr>
            <a:noAutofit/>
          </a:bodyPr>
          <a:lstStyle>
            <a:lvl1pPr marL="0" indent="0">
              <a:spcBef>
                <a:spcPts val="0"/>
              </a:spcBef>
              <a:spcAft>
                <a:spcPts val="0"/>
              </a:spcAft>
              <a:buFont typeface="Arial" panose="020B0604020202020204" pitchFamily="34" charset="0"/>
              <a:buNone/>
              <a:defRPr sz="1600" baseline="0">
                <a:solidFill>
                  <a:schemeClr val="accent4"/>
                </a:solidFill>
              </a:defRPr>
            </a:lvl1pPr>
            <a:lvl2pPr marL="0" indent="0">
              <a:spcBef>
                <a:spcPts val="0"/>
              </a:spcBef>
              <a:spcAft>
                <a:spcPts val="0"/>
              </a:spcAft>
              <a:buNone/>
              <a:defRPr sz="1600">
                <a:solidFill>
                  <a:schemeClr val="accent1"/>
                </a:solidFill>
              </a:defRPr>
            </a:lvl2pPr>
            <a:lvl3pPr marL="0" indent="0">
              <a:spcBef>
                <a:spcPts val="0"/>
              </a:spcBef>
              <a:spcAft>
                <a:spcPts val="0"/>
              </a:spcAft>
              <a:buNone/>
              <a:defRPr sz="1600">
                <a:solidFill>
                  <a:schemeClr val="accent1"/>
                </a:solidFill>
              </a:defRPr>
            </a:lvl3pPr>
            <a:lvl4pPr marL="0" indent="0">
              <a:spcBef>
                <a:spcPts val="0"/>
              </a:spcBef>
              <a:spcAft>
                <a:spcPts val="0"/>
              </a:spcAft>
              <a:buNone/>
              <a:defRPr sz="1600">
                <a:solidFill>
                  <a:schemeClr val="accent1"/>
                </a:solidFill>
              </a:defRPr>
            </a:lvl4pPr>
            <a:lvl5pPr marL="0" indent="0">
              <a:spcBef>
                <a:spcPts val="0"/>
              </a:spcBef>
              <a:spcAft>
                <a:spcPts val="0"/>
              </a:spcAft>
              <a:buNone/>
              <a:defRPr sz="1600">
                <a:solidFill>
                  <a:schemeClr val="accent1"/>
                </a:solidFill>
              </a:defRPr>
            </a:lvl5pPr>
            <a:lvl6pPr marL="0" indent="0">
              <a:spcBef>
                <a:spcPts val="0"/>
              </a:spcBef>
              <a:spcAft>
                <a:spcPts val="0"/>
              </a:spcAft>
              <a:buNone/>
              <a:defRPr sz="1600">
                <a:solidFill>
                  <a:schemeClr val="accent1"/>
                </a:solidFill>
              </a:defRPr>
            </a:lvl6pPr>
            <a:lvl7pPr marL="0" indent="0">
              <a:spcBef>
                <a:spcPts val="0"/>
              </a:spcBef>
              <a:spcAft>
                <a:spcPts val="0"/>
              </a:spcAft>
              <a:buNone/>
              <a:defRPr sz="1600">
                <a:solidFill>
                  <a:schemeClr val="accent1"/>
                </a:solidFill>
              </a:defRPr>
            </a:lvl7pPr>
            <a:lvl8pPr marL="0" indent="0">
              <a:spcBef>
                <a:spcPts val="0"/>
              </a:spcBef>
              <a:spcAft>
                <a:spcPts val="0"/>
              </a:spcAft>
              <a:buNone/>
              <a:defRPr sz="1600">
                <a:solidFill>
                  <a:schemeClr val="accent1"/>
                </a:solidFill>
              </a:defRPr>
            </a:lvl8pPr>
            <a:lvl9pPr marL="0" indent="0">
              <a:spcBef>
                <a:spcPts val="0"/>
              </a:spcBef>
              <a:spcAft>
                <a:spcPts val="0"/>
              </a:spcAft>
              <a:buNone/>
              <a:defRPr sz="1600">
                <a:solidFill>
                  <a:schemeClr val="accent1"/>
                </a:solidFill>
              </a:defRPr>
            </a:lvl9pPr>
          </a:lstStyle>
          <a:p>
            <a:r>
              <a:rPr lang="en-US" noProof="0"/>
              <a:t>Name</a:t>
            </a:r>
            <a:br>
              <a:rPr lang="en-US" noProof="0"/>
            </a:br>
            <a:r>
              <a:rPr lang="en-US" noProof="0"/>
              <a:t>Place, Date</a:t>
            </a:r>
          </a:p>
        </p:txBody>
      </p:sp>
      <p:sp>
        <p:nvSpPr>
          <p:cNvPr id="3" name="Subtitle 2"/>
          <p:cNvSpPr>
            <a:spLocks noGrp="1"/>
          </p:cNvSpPr>
          <p:nvPr>
            <p:ph type="subTitle" idx="1" hasCustomPrompt="1"/>
          </p:nvPr>
        </p:nvSpPr>
        <p:spPr bwMode="gray">
          <a:xfrm>
            <a:off x="4080907" y="2877197"/>
            <a:ext cx="6551597" cy="576000"/>
          </a:xfrm>
          <a:prstGeom prst="rect">
            <a:avLst/>
          </a:prstGeom>
        </p:spPr>
        <p:txBody>
          <a:bodyPr>
            <a:noAutofit/>
          </a:bodyPr>
          <a:lstStyle>
            <a:lvl1pPr marL="0" indent="0" algn="l">
              <a:spcBef>
                <a:spcPts val="0"/>
              </a:spcBef>
              <a:spcAft>
                <a:spcPts val="1200"/>
              </a:spcAft>
              <a:buNone/>
              <a:defRPr sz="1600" b="1" i="0" baseline="0">
                <a:solidFill>
                  <a:schemeClr val="accent4"/>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pPr lvl="0"/>
            <a:r>
              <a:rPr lang="en-US" noProof="0"/>
              <a:t>Subtitle and other information of this presentation</a:t>
            </a:r>
            <a:endParaRPr lang="en-US"/>
          </a:p>
          <a:p>
            <a:pPr lvl="0"/>
            <a:endParaRPr lang="en-US" noProof="0"/>
          </a:p>
        </p:txBody>
      </p:sp>
      <p:sp>
        <p:nvSpPr>
          <p:cNvPr id="2" name="Title 1"/>
          <p:cNvSpPr>
            <a:spLocks noGrp="1"/>
          </p:cNvSpPr>
          <p:nvPr>
            <p:ph type="ctrTitle" hasCustomPrompt="1"/>
          </p:nvPr>
        </p:nvSpPr>
        <p:spPr bwMode="gray">
          <a:xfrm>
            <a:off x="4080907" y="1484784"/>
            <a:ext cx="6551597" cy="1249282"/>
          </a:xfrm>
          <a:prstGeom prst="rect">
            <a:avLst/>
          </a:prstGeom>
          <a:noFill/>
        </p:spPr>
        <p:txBody>
          <a:bodyPr anchor="b"/>
          <a:lstStyle>
            <a:lvl1pPr algn="l">
              <a:lnSpc>
                <a:spcPct val="100000"/>
              </a:lnSpc>
              <a:defRPr sz="4000" b="0" cap="none" baseline="0">
                <a:solidFill>
                  <a:schemeClr val="accent4"/>
                </a:solidFill>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grpSp>
        <p:nvGrpSpPr>
          <p:cNvPr id="12" name="Logo Merck"/>
          <p:cNvGrpSpPr>
            <a:grpSpLocks noChangeAspect="1"/>
          </p:cNvGrpSpPr>
          <p:nvPr/>
        </p:nvGrpSpPr>
        <p:grpSpPr bwMode="gray">
          <a:xfrm>
            <a:off x="9536024" y="6170950"/>
            <a:ext cx="2248608" cy="354050"/>
            <a:chOff x="396364" y="7173520"/>
            <a:chExt cx="1871956" cy="294745"/>
          </a:xfrm>
          <a:solidFill>
            <a:schemeClr val="bg2"/>
          </a:solidFill>
        </p:grpSpPr>
        <p:sp>
          <p:nvSpPr>
            <p:cNvPr id="14"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pic>
        <p:nvPicPr>
          <p:cNvPr id="4" name="Picture 3">
            <a:extLst>
              <a:ext uri="{FF2B5EF4-FFF2-40B4-BE49-F238E27FC236}">
                <a16:creationId xmlns:a16="http://schemas.microsoft.com/office/drawing/2014/main" id="{AEBE439D-7512-460C-AEAB-E781394D2F78}"/>
              </a:ext>
            </a:extLst>
          </p:cNvPr>
          <p:cNvPicPr>
            <a:picLocks noChangeAspect="1"/>
          </p:cNvPicPr>
          <p:nvPr/>
        </p:nvPicPr>
        <p:blipFill>
          <a:blip r:embed="rId2"/>
          <a:stretch>
            <a:fillRect/>
          </a:stretch>
        </p:blipFill>
        <p:spPr>
          <a:xfrm>
            <a:off x="468313" y="5269428"/>
            <a:ext cx="2523963" cy="1255885"/>
          </a:xfrm>
          <a:prstGeom prst="rect">
            <a:avLst/>
          </a:prstGeom>
        </p:spPr>
      </p:pic>
    </p:spTree>
    <p:extLst>
      <p:ext uri="{BB962C8B-B14F-4D97-AF65-F5344CB8AC3E}">
        <p14:creationId xmlns:p14="http://schemas.microsoft.com/office/powerpoint/2010/main" val="301120068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with picture">
    <p:spTree>
      <p:nvGrpSpPr>
        <p:cNvPr id="1" name=""/>
        <p:cNvGrpSpPr/>
        <p:nvPr/>
      </p:nvGrpSpPr>
      <p:grpSpPr>
        <a:xfrm>
          <a:off x="0" y="0"/>
          <a:ext cx="0" cy="0"/>
          <a:chOff x="0" y="0"/>
          <a:chExt cx="0" cy="0"/>
        </a:xfrm>
      </p:grpSpPr>
      <p:sp>
        <p:nvSpPr>
          <p:cNvPr id="38" name="Rechteck 37">
            <a:extLst>
              <a:ext uri="{FF2B5EF4-FFF2-40B4-BE49-F238E27FC236}">
                <a16:creationId xmlns:a16="http://schemas.microsoft.com/office/drawing/2014/main" id="{72E51C3F-45BF-4228-9D36-14DF5EDD2289}"/>
              </a:ext>
            </a:extLst>
          </p:cNvPr>
          <p:cNvSpPr/>
          <p:nvPr/>
        </p:nvSpPr>
        <p:spPr bwMode="gray">
          <a:xfrm>
            <a:off x="0" y="0"/>
            <a:ext cx="12192000" cy="6858000"/>
          </a:xfrm>
          <a:prstGeom prst="rect">
            <a:avLst/>
          </a:prstGeom>
          <a:solidFill>
            <a:schemeClr val="accent4"/>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sp>
        <p:nvSpPr>
          <p:cNvPr id="28" name="Bildplatzhalter 27">
            <a:extLst>
              <a:ext uri="{FF2B5EF4-FFF2-40B4-BE49-F238E27FC236}">
                <a16:creationId xmlns:a16="http://schemas.microsoft.com/office/drawing/2014/main" id="{922E91D9-6A6B-4540-A3F7-41319E0A999B}"/>
              </a:ext>
            </a:extLst>
          </p:cNvPr>
          <p:cNvSpPr>
            <a:spLocks noGrp="1"/>
          </p:cNvSpPr>
          <p:nvPr>
            <p:ph type="pic" sz="quarter" idx="20" hasCustomPrompt="1"/>
          </p:nvPr>
        </p:nvSpPr>
        <p:spPr bwMode="gray">
          <a:xfrm>
            <a:off x="-31738" y="-2238"/>
            <a:ext cx="5799961" cy="6860238"/>
          </a:xfrm>
          <a:custGeom>
            <a:avLst/>
            <a:gdLst>
              <a:gd name="connsiteX0" fmla="*/ 0 w 5799961"/>
              <a:gd name="connsiteY0" fmla="*/ 0 h 6860238"/>
              <a:gd name="connsiteX1" fmla="*/ 4747874 w 5799961"/>
              <a:gd name="connsiteY1" fmla="*/ 0 h 6860238"/>
              <a:gd name="connsiteX2" fmla="*/ 5769535 w 5799961"/>
              <a:gd name="connsiteY2" fmla="*/ 3610262 h 6860238"/>
              <a:gd name="connsiteX3" fmla="*/ 5475261 w 5799961"/>
              <a:gd name="connsiteY3" fmla="*/ 4727075 h 6860238"/>
              <a:gd name="connsiteX4" fmla="*/ 3328480 w 5799961"/>
              <a:gd name="connsiteY4" fmla="*/ 6860238 h 6860238"/>
              <a:gd name="connsiteX5" fmla="*/ 0 w 5799961"/>
              <a:gd name="connsiteY5" fmla="*/ 6860238 h 6860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99961" h="6860238">
                <a:moveTo>
                  <a:pt x="0" y="0"/>
                </a:moveTo>
                <a:lnTo>
                  <a:pt x="4747874" y="0"/>
                </a:lnTo>
                <a:lnTo>
                  <a:pt x="5769535" y="3610262"/>
                </a:lnTo>
                <a:cubicBezTo>
                  <a:pt x="5863903" y="3961933"/>
                  <a:pt x="5731272" y="4465289"/>
                  <a:pt x="5475261" y="4727075"/>
                </a:cubicBezTo>
                <a:lnTo>
                  <a:pt x="3328480" y="6860238"/>
                </a:lnTo>
                <a:lnTo>
                  <a:pt x="0" y="6860238"/>
                </a:lnTo>
                <a:close/>
              </a:path>
            </a:pathLst>
          </a:custGeom>
          <a:solidFill>
            <a:schemeClr val="accent1"/>
          </a:solidFill>
        </p:spPr>
        <p:txBody>
          <a:bodyPr wrap="square" tIns="720000" anchor="ctr">
            <a:noAutofit/>
          </a:bodyPr>
          <a:lstStyle>
            <a:lvl1pPr algn="ctr">
              <a:spcBef>
                <a:spcPts val="0"/>
              </a:spcBef>
              <a:spcAft>
                <a:spcPts val="0"/>
              </a:spcAft>
              <a:defRPr sz="1000" baseline="0">
                <a:solidFill>
                  <a:schemeClr val="accent4"/>
                </a:solidFill>
              </a:defRPr>
            </a:lvl1pPr>
          </a:lstStyle>
          <a:p>
            <a:r>
              <a:rPr lang="en-US" noProof="0"/>
              <a:t>Click icon to add picture</a:t>
            </a:r>
          </a:p>
        </p:txBody>
      </p:sp>
      <p:graphicFrame>
        <p:nvGraphicFramePr>
          <p:cNvPr id="5" name="Object 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5" name="Objec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2"/>
          <p:cNvSpPr>
            <a:spLocks noGrp="1"/>
          </p:cNvSpPr>
          <p:nvPr>
            <p:ph type="body" sz="quarter" idx="10" hasCustomPrompt="1"/>
          </p:nvPr>
        </p:nvSpPr>
        <p:spPr bwMode="gray">
          <a:xfrm>
            <a:off x="6240959" y="3645024"/>
            <a:ext cx="5327649"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1"/>
                </a:solidFill>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a:t>Name</a:t>
            </a:r>
          </a:p>
          <a:p>
            <a:r>
              <a:rPr lang="en-US" noProof="0"/>
              <a:t>Place, Date</a:t>
            </a:r>
          </a:p>
        </p:txBody>
      </p:sp>
      <p:sp>
        <p:nvSpPr>
          <p:cNvPr id="3" name="Subtitle 2"/>
          <p:cNvSpPr>
            <a:spLocks noGrp="1"/>
          </p:cNvSpPr>
          <p:nvPr>
            <p:ph type="subTitle" idx="1" hasCustomPrompt="1"/>
          </p:nvPr>
        </p:nvSpPr>
        <p:spPr bwMode="gray">
          <a:xfrm>
            <a:off x="6241201" y="2877362"/>
            <a:ext cx="5327407" cy="648000"/>
          </a:xfrm>
          <a:prstGeom prst="rect">
            <a:avLst/>
          </a:prstGeom>
        </p:spPr>
        <p:txBody>
          <a:bodyPr>
            <a:noAutofit/>
          </a:bodyPr>
          <a:lstStyle>
            <a:lvl1pPr marL="0" indent="0" algn="l">
              <a:spcBef>
                <a:spcPts val="0"/>
              </a:spcBef>
              <a:spcAft>
                <a:spcPts val="1200"/>
              </a:spcAft>
              <a:buNone/>
              <a:defRPr sz="1600" b="1" i="0" baseline="0">
                <a:solidFill>
                  <a:schemeClr val="accent1"/>
                </a:solidFill>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r>
              <a:rPr lang="en-US" noProof="0"/>
              <a:t>Subtitle and other information of this presentation</a:t>
            </a:r>
          </a:p>
        </p:txBody>
      </p:sp>
      <p:sp>
        <p:nvSpPr>
          <p:cNvPr id="2" name="Title 1"/>
          <p:cNvSpPr>
            <a:spLocks noGrp="1"/>
          </p:cNvSpPr>
          <p:nvPr>
            <p:ph type="ctrTitle" hasCustomPrompt="1"/>
          </p:nvPr>
        </p:nvSpPr>
        <p:spPr bwMode="gray">
          <a:xfrm>
            <a:off x="6241201" y="1484784"/>
            <a:ext cx="5327407" cy="1249282"/>
          </a:xfrm>
          <a:prstGeom prst="rect">
            <a:avLst/>
          </a:prstGeom>
          <a:noFill/>
        </p:spPr>
        <p:txBody>
          <a:bodyPr anchor="b"/>
          <a:lstStyle>
            <a:lvl1pPr algn="l">
              <a:lnSpc>
                <a:spcPct val="100000"/>
              </a:lnSpc>
              <a:defRPr sz="4000" b="0" cap="none" baseline="0">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grpSp>
        <p:nvGrpSpPr>
          <p:cNvPr id="12" name="Logo Merck"/>
          <p:cNvGrpSpPr>
            <a:grpSpLocks noChangeAspect="1"/>
          </p:cNvGrpSpPr>
          <p:nvPr/>
        </p:nvGrpSpPr>
        <p:grpSpPr bwMode="gray">
          <a:xfrm>
            <a:off x="9536024" y="6170950"/>
            <a:ext cx="2248608" cy="354050"/>
            <a:chOff x="396364" y="7173520"/>
            <a:chExt cx="1871956" cy="294745"/>
          </a:xfrm>
          <a:solidFill>
            <a:schemeClr val="bg2"/>
          </a:solidFill>
        </p:grpSpPr>
        <p:sp>
          <p:nvSpPr>
            <p:cNvPr id="13"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6" name="Textplatzhalter 5">
            <a:extLst>
              <a:ext uri="{FF2B5EF4-FFF2-40B4-BE49-F238E27FC236}">
                <a16:creationId xmlns:a16="http://schemas.microsoft.com/office/drawing/2014/main" id="{D18C29A5-F337-40D2-875D-0AEBA1A56E9F}"/>
              </a:ext>
            </a:extLst>
          </p:cNvPr>
          <p:cNvSpPr>
            <a:spLocks noGrp="1"/>
          </p:cNvSpPr>
          <p:nvPr>
            <p:ph type="body" sz="quarter" idx="21" hasCustomPrompt="1"/>
          </p:nvPr>
        </p:nvSpPr>
        <p:spPr>
          <a:xfrm>
            <a:off x="468313" y="5268913"/>
            <a:ext cx="2523600" cy="1256400"/>
          </a:xfrm>
          <a:blipFill>
            <a:blip r:embed="rId5"/>
            <a:stretch>
              <a:fillRect/>
            </a:stretch>
          </a:blipFill>
        </p:spPr>
        <p:txBody>
          <a:bodyPr/>
          <a:lstStyle/>
          <a:p>
            <a:pPr lvl="0"/>
            <a:r>
              <a:rPr lang="de-DE"/>
              <a:t> </a:t>
            </a:r>
          </a:p>
        </p:txBody>
      </p:sp>
    </p:spTree>
    <p:extLst>
      <p:ext uri="{BB962C8B-B14F-4D97-AF65-F5344CB8AC3E}">
        <p14:creationId xmlns:p14="http://schemas.microsoft.com/office/powerpoint/2010/main" val="6367826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plain">
    <p:spTree>
      <p:nvGrpSpPr>
        <p:cNvPr id="1" name=""/>
        <p:cNvGrpSpPr/>
        <p:nvPr/>
      </p:nvGrpSpPr>
      <p:grpSpPr>
        <a:xfrm>
          <a:off x="0" y="0"/>
          <a:ext cx="0" cy="0"/>
          <a:chOff x="0" y="0"/>
          <a:chExt cx="0" cy="0"/>
        </a:xfrm>
      </p:grpSpPr>
      <p:sp>
        <p:nvSpPr>
          <p:cNvPr id="13" name="Rectangle 5">
            <a:extLst>
              <a:ext uri="{FF2B5EF4-FFF2-40B4-BE49-F238E27FC236}">
                <a16:creationId xmlns:a16="http://schemas.microsoft.com/office/drawing/2014/main" id="{6C8701BF-E1D7-4777-B79C-367EA3114C26}"/>
              </a:ext>
            </a:extLst>
          </p:cNvPr>
          <p:cNvSpPr/>
          <p:nvPr/>
        </p:nvSpPr>
        <p:spPr bwMode="gray">
          <a:xfrm>
            <a:off x="1" y="0"/>
            <a:ext cx="12192000" cy="6858001"/>
          </a:xfrm>
          <a:prstGeom prst="rect">
            <a:avLst/>
          </a:prstGeom>
          <a:solidFill>
            <a:srgbClr val="FFC832"/>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7" name="Text Placeholder 12"/>
          <p:cNvSpPr>
            <a:spLocks noGrp="1"/>
          </p:cNvSpPr>
          <p:nvPr>
            <p:ph type="body" sz="quarter" idx="10" hasCustomPrompt="1"/>
          </p:nvPr>
        </p:nvSpPr>
        <p:spPr bwMode="gray">
          <a:xfrm>
            <a:off x="5951538" y="3597205"/>
            <a:ext cx="5617069" cy="576262"/>
          </a:xfrm>
          <a:prstGeom prst="rect">
            <a:avLst/>
          </a:prstGeom>
        </p:spPr>
        <p:txBody>
          <a:bodyPr>
            <a:noAutofit/>
          </a:bodyPr>
          <a:lstStyle>
            <a:lvl1pPr marL="0" indent="0">
              <a:spcBef>
                <a:spcPts val="0"/>
              </a:spcBef>
              <a:spcAft>
                <a:spcPts val="0"/>
              </a:spcAft>
              <a:buFont typeface="Arial" panose="020B0604020202020204" pitchFamily="34" charset="0"/>
              <a:buNone/>
              <a:defRPr sz="1600" baseline="0">
                <a:solidFill>
                  <a:schemeClr val="accent1"/>
                </a:solidFill>
              </a:defRPr>
            </a:lvl1pPr>
            <a:lvl2pPr marL="0" indent="0">
              <a:spcBef>
                <a:spcPts val="0"/>
              </a:spcBef>
              <a:spcAft>
                <a:spcPts val="0"/>
              </a:spcAft>
              <a:buNone/>
              <a:defRPr sz="1600">
                <a:solidFill>
                  <a:schemeClr val="accent1"/>
                </a:solidFill>
              </a:defRPr>
            </a:lvl2pPr>
            <a:lvl3pPr marL="0" indent="0">
              <a:spcBef>
                <a:spcPts val="0"/>
              </a:spcBef>
              <a:spcAft>
                <a:spcPts val="0"/>
              </a:spcAft>
              <a:buNone/>
              <a:defRPr sz="1600">
                <a:solidFill>
                  <a:schemeClr val="accent1"/>
                </a:solidFill>
              </a:defRPr>
            </a:lvl3pPr>
            <a:lvl4pPr marL="0" indent="0">
              <a:spcBef>
                <a:spcPts val="0"/>
              </a:spcBef>
              <a:spcAft>
                <a:spcPts val="0"/>
              </a:spcAft>
              <a:buNone/>
              <a:defRPr sz="1600">
                <a:solidFill>
                  <a:schemeClr val="accent1"/>
                </a:solidFill>
              </a:defRPr>
            </a:lvl4pPr>
            <a:lvl5pPr marL="0" indent="0">
              <a:spcBef>
                <a:spcPts val="0"/>
              </a:spcBef>
              <a:spcAft>
                <a:spcPts val="0"/>
              </a:spcAft>
              <a:buNone/>
              <a:defRPr sz="1600">
                <a:solidFill>
                  <a:schemeClr val="accent1"/>
                </a:solidFill>
              </a:defRPr>
            </a:lvl5pPr>
            <a:lvl6pPr marL="0" indent="0">
              <a:spcBef>
                <a:spcPts val="0"/>
              </a:spcBef>
              <a:spcAft>
                <a:spcPts val="0"/>
              </a:spcAft>
              <a:buNone/>
              <a:defRPr sz="1600">
                <a:solidFill>
                  <a:schemeClr val="accent1"/>
                </a:solidFill>
              </a:defRPr>
            </a:lvl6pPr>
            <a:lvl7pPr marL="0" indent="0">
              <a:spcBef>
                <a:spcPts val="0"/>
              </a:spcBef>
              <a:spcAft>
                <a:spcPts val="0"/>
              </a:spcAft>
              <a:buNone/>
              <a:defRPr sz="1600">
                <a:solidFill>
                  <a:schemeClr val="accent1"/>
                </a:solidFill>
              </a:defRPr>
            </a:lvl7pPr>
            <a:lvl8pPr marL="0" indent="0">
              <a:spcBef>
                <a:spcPts val="0"/>
              </a:spcBef>
              <a:spcAft>
                <a:spcPts val="0"/>
              </a:spcAft>
              <a:buNone/>
              <a:defRPr sz="1600">
                <a:solidFill>
                  <a:schemeClr val="accent1"/>
                </a:solidFill>
              </a:defRPr>
            </a:lvl8pPr>
            <a:lvl9pPr marL="0" indent="0">
              <a:spcBef>
                <a:spcPts val="0"/>
              </a:spcBef>
              <a:spcAft>
                <a:spcPts val="0"/>
              </a:spcAft>
              <a:buNone/>
              <a:defRPr sz="1600">
                <a:solidFill>
                  <a:schemeClr val="accent1"/>
                </a:solidFill>
              </a:defRPr>
            </a:lvl9pPr>
          </a:lstStyle>
          <a:p>
            <a:r>
              <a:rPr lang="en-US" noProof="0"/>
              <a:t>Name</a:t>
            </a:r>
            <a:br>
              <a:rPr lang="en-US" noProof="0"/>
            </a:br>
            <a:r>
              <a:rPr lang="en-US" noProof="0"/>
              <a:t>Place, Date</a:t>
            </a:r>
          </a:p>
        </p:txBody>
      </p:sp>
      <p:sp>
        <p:nvSpPr>
          <p:cNvPr id="3" name="Subtitle 2"/>
          <p:cNvSpPr>
            <a:spLocks noGrp="1"/>
          </p:cNvSpPr>
          <p:nvPr>
            <p:ph type="subTitle" idx="1" hasCustomPrompt="1"/>
          </p:nvPr>
        </p:nvSpPr>
        <p:spPr bwMode="gray">
          <a:xfrm>
            <a:off x="5952081" y="2877197"/>
            <a:ext cx="5616521" cy="576000"/>
          </a:xfrm>
          <a:prstGeom prst="rect">
            <a:avLst/>
          </a:prstGeom>
        </p:spPr>
        <p:txBody>
          <a:bodyPr>
            <a:noAutofit/>
          </a:bodyPr>
          <a:lstStyle>
            <a:lvl1pPr marL="0" indent="0" algn="l">
              <a:spcBef>
                <a:spcPts val="0"/>
              </a:spcBef>
              <a:spcAft>
                <a:spcPts val="1200"/>
              </a:spcAft>
              <a:buNone/>
              <a:defRPr sz="1600" b="1" i="0" baseline="0">
                <a:solidFill>
                  <a:schemeClr val="accent1"/>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pPr lvl="0"/>
            <a:r>
              <a:rPr lang="en-US" noProof="0"/>
              <a:t>Subtitle and other information of this presentation</a:t>
            </a:r>
            <a:endParaRPr lang="en-US"/>
          </a:p>
          <a:p>
            <a:pPr lvl="0"/>
            <a:endParaRPr lang="en-US" noProof="0"/>
          </a:p>
        </p:txBody>
      </p:sp>
      <p:sp>
        <p:nvSpPr>
          <p:cNvPr id="2" name="Title 1"/>
          <p:cNvSpPr>
            <a:spLocks noGrp="1"/>
          </p:cNvSpPr>
          <p:nvPr>
            <p:ph type="ctrTitle" hasCustomPrompt="1"/>
          </p:nvPr>
        </p:nvSpPr>
        <p:spPr bwMode="gray">
          <a:xfrm>
            <a:off x="5952081" y="1484784"/>
            <a:ext cx="5616521" cy="1249282"/>
          </a:xfrm>
          <a:prstGeom prst="rect">
            <a:avLst/>
          </a:prstGeom>
          <a:noFill/>
        </p:spPr>
        <p:txBody>
          <a:bodyPr anchor="b"/>
          <a:lstStyle>
            <a:lvl1pPr algn="l">
              <a:lnSpc>
                <a:spcPct val="100000"/>
              </a:lnSpc>
              <a:defRPr sz="4000" b="0" cap="none" baseline="0">
                <a:solidFill>
                  <a:schemeClr val="accent1"/>
                </a:solidFill>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grpSp>
        <p:nvGrpSpPr>
          <p:cNvPr id="14" name="Logo Merck">
            <a:extLst>
              <a:ext uri="{FF2B5EF4-FFF2-40B4-BE49-F238E27FC236}">
                <a16:creationId xmlns:a16="http://schemas.microsoft.com/office/drawing/2014/main" id="{C087B48A-604A-4847-ADB6-AB1687D9B259}"/>
              </a:ext>
            </a:extLst>
          </p:cNvPr>
          <p:cNvGrpSpPr>
            <a:grpSpLocks noChangeAspect="1"/>
          </p:cNvGrpSpPr>
          <p:nvPr/>
        </p:nvGrpSpPr>
        <p:grpSpPr bwMode="gray">
          <a:xfrm>
            <a:off x="9536024" y="6170950"/>
            <a:ext cx="2248608" cy="354050"/>
            <a:chOff x="396364" y="7173520"/>
            <a:chExt cx="1871956" cy="294745"/>
          </a:xfrm>
          <a:solidFill>
            <a:schemeClr val="bg2"/>
          </a:solidFill>
        </p:grpSpPr>
        <p:sp>
          <p:nvSpPr>
            <p:cNvPr id="15" name="Freeform 5">
              <a:extLst>
                <a:ext uri="{FF2B5EF4-FFF2-40B4-BE49-F238E27FC236}">
                  <a16:creationId xmlns:a16="http://schemas.microsoft.com/office/drawing/2014/main" id="{88394829-C709-4CAF-86FD-F0F811F5F8EE}"/>
                </a:ext>
              </a:extLst>
            </p:cNvPr>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6">
              <a:extLst>
                <a:ext uri="{FF2B5EF4-FFF2-40B4-BE49-F238E27FC236}">
                  <a16:creationId xmlns:a16="http://schemas.microsoft.com/office/drawing/2014/main" id="{CCD41103-FCEA-4CD8-8CED-F178561344C4}"/>
                </a:ext>
              </a:extLst>
            </p:cNvPr>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pic>
        <p:nvPicPr>
          <p:cNvPr id="5" name="Grafik 4">
            <a:extLst>
              <a:ext uri="{FF2B5EF4-FFF2-40B4-BE49-F238E27FC236}">
                <a16:creationId xmlns:a16="http://schemas.microsoft.com/office/drawing/2014/main" id="{ED34D556-DEF9-473B-90D3-F755965831CB}"/>
              </a:ext>
            </a:extLst>
          </p:cNvPr>
          <p:cNvPicPr>
            <a:picLocks noChangeAspect="1"/>
          </p:cNvPicPr>
          <p:nvPr/>
        </p:nvPicPr>
        <p:blipFill rotWithShape="1">
          <a:blip r:embed="rId2"/>
          <a:srcRect l="45046"/>
          <a:stretch/>
        </p:blipFill>
        <p:spPr>
          <a:xfrm>
            <a:off x="0" y="1469545"/>
            <a:ext cx="5338436" cy="4651856"/>
          </a:xfrm>
          <a:prstGeom prst="rect">
            <a:avLst/>
          </a:prstGeom>
        </p:spPr>
      </p:pic>
    </p:spTree>
    <p:extLst>
      <p:ext uri="{BB962C8B-B14F-4D97-AF65-F5344CB8AC3E}">
        <p14:creationId xmlns:p14="http://schemas.microsoft.com/office/powerpoint/2010/main" val="323414462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able of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4" name="Content Placeholder 13"/>
          <p:cNvSpPr>
            <a:spLocks noGrp="1"/>
          </p:cNvSpPr>
          <p:nvPr>
            <p:ph sz="quarter" idx="14" hasCustomPrompt="1"/>
          </p:nvPr>
        </p:nvSpPr>
        <p:spPr bwMode="gray">
          <a:xfrm>
            <a:off x="623888" y="1484313"/>
            <a:ext cx="10944227" cy="4608511"/>
          </a:xfrm>
        </p:spPr>
        <p:txBody>
          <a:bodyPr/>
          <a:lstStyle>
            <a:lvl1pPr marL="342900" indent="-342900">
              <a:buClr>
                <a:schemeClr val="bg2"/>
              </a:buClr>
              <a:buFont typeface="+mj-lt"/>
              <a:buAutoNum type="arabicPeriod"/>
              <a:defRPr/>
            </a:lvl1pPr>
            <a:lvl2pPr marL="534988" indent="-179388">
              <a:defRPr/>
            </a:lvl2pPr>
            <a:lvl3pPr marL="715963" indent="-179388">
              <a:defRPr/>
            </a:lvl3pPr>
            <a:lvl4pPr marL="896938" indent="-179388">
              <a:defRPr/>
            </a:lvl4pPr>
            <a:lvl5pPr marL="449263" indent="0">
              <a:buNone/>
              <a:defRPr/>
            </a:lvl5pPr>
          </a:lstStyle>
          <a:p>
            <a:pPr lvl="0"/>
            <a:r>
              <a:rPr lang="en-US"/>
              <a:t>Insert your agenda points here. Use the button “increase list level” to add subitems.</a:t>
            </a:r>
            <a:br>
              <a:rPr lang="en-US"/>
            </a:br>
            <a:r>
              <a:rPr lang="en-US"/>
              <a:t>You can find other agenda designs within the slide library.</a:t>
            </a:r>
          </a:p>
          <a:p>
            <a:pPr lvl="0"/>
            <a:r>
              <a:rPr lang="en-US"/>
              <a:t>Click to edit Master text styles</a:t>
            </a:r>
          </a:p>
          <a:p>
            <a:pPr lvl="1"/>
            <a:r>
              <a:rPr lang="en-US"/>
              <a:t>Second level</a:t>
            </a:r>
          </a:p>
          <a:p>
            <a:pPr lvl="2"/>
            <a:r>
              <a:rPr lang="en-US"/>
              <a:t>Third level</a:t>
            </a:r>
          </a:p>
          <a:p>
            <a:pPr lvl="3"/>
            <a:r>
              <a:rPr lang="en-US"/>
              <a:t>Fourth level</a:t>
            </a:r>
          </a:p>
          <a:p>
            <a:pPr lvl="3"/>
            <a:r>
              <a:rPr lang="en-US"/>
              <a:t>Fifth level</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3" name="Title 2"/>
          <p:cNvSpPr>
            <a:spLocks noGrp="1"/>
          </p:cNvSpPr>
          <p:nvPr>
            <p:ph type="title" hasCustomPrompt="1"/>
          </p:nvPr>
        </p:nvSpPr>
        <p:spPr bwMode="gray">
          <a:xfrm>
            <a:off x="623888" y="730800"/>
            <a:ext cx="10944225" cy="325952"/>
          </a:xfrm>
        </p:spPr>
        <p:txBody>
          <a:bodyPr/>
          <a:lstStyle/>
          <a:p>
            <a:r>
              <a:rPr lang="en-US"/>
              <a:t>Insert slide title here (max. 2 lines | max. 1 line with Action Title)</a:t>
            </a:r>
          </a:p>
        </p:txBody>
      </p:sp>
      <p:sp>
        <p:nvSpPr>
          <p:cNvPr id="4" name="Fußzeilenplatzhalter 3">
            <a:extLst>
              <a:ext uri="{FF2B5EF4-FFF2-40B4-BE49-F238E27FC236}">
                <a16:creationId xmlns:a16="http://schemas.microsoft.com/office/drawing/2014/main" id="{5F934EA1-1883-4D38-9FDC-7B4EE39EA964}"/>
              </a:ext>
            </a:extLst>
          </p:cNvPr>
          <p:cNvSpPr>
            <a:spLocks noGrp="1"/>
          </p:cNvSpPr>
          <p:nvPr>
            <p:ph type="ftr" sz="quarter" idx="15"/>
          </p:nvPr>
        </p:nvSpPr>
        <p:spPr bwMode="gray"/>
        <p:txBody>
          <a:bodyPr/>
          <a:lstStyle/>
          <a:p>
            <a:endParaRPr lang="fr-FR"/>
          </a:p>
        </p:txBody>
      </p:sp>
      <p:sp>
        <p:nvSpPr>
          <p:cNvPr id="6" name="Foliennummernplatzhalter 5">
            <a:extLst>
              <a:ext uri="{FF2B5EF4-FFF2-40B4-BE49-F238E27FC236}">
                <a16:creationId xmlns:a16="http://schemas.microsoft.com/office/drawing/2014/main" id="{A9116324-0C1D-439A-912E-27AE05A10F32}"/>
              </a:ext>
            </a:extLst>
          </p:cNvPr>
          <p:cNvSpPr>
            <a:spLocks noGrp="1"/>
          </p:cNvSpPr>
          <p:nvPr>
            <p:ph type="sldNum" sz="quarter" idx="16"/>
          </p:nvPr>
        </p:nvSpPr>
        <p:spPr bwMode="gray"/>
        <p:txBody>
          <a:bodyPr/>
          <a:lstStyle/>
          <a:p>
            <a:fld id="{27C6CCC6-2BE5-4E42-96A4-D1E8E81A3D8E}" type="slidenum">
              <a:rPr lang="fr-FR" smtClean="0"/>
              <a:t>‹#›</a:t>
            </a:fld>
            <a:endParaRPr lang="fr-FR"/>
          </a:p>
        </p:txBody>
      </p:sp>
    </p:spTree>
    <p:extLst>
      <p:ext uri="{BB962C8B-B14F-4D97-AF65-F5344CB8AC3E}">
        <p14:creationId xmlns:p14="http://schemas.microsoft.com/office/powerpoint/2010/main" val="2112137432"/>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sp>
        <p:nvSpPr>
          <p:cNvPr id="11" name="Content Placeholder 10"/>
          <p:cNvSpPr>
            <a:spLocks noGrp="1"/>
          </p:cNvSpPr>
          <p:nvPr>
            <p:ph sz="quarter" idx="14" hasCustomPrompt="1"/>
          </p:nvPr>
        </p:nvSpPr>
        <p:spPr bwMode="gray">
          <a:xfrm>
            <a:off x="623888" y="1484313"/>
            <a:ext cx="10944227" cy="4608511"/>
          </a:xfrm>
        </p:spPr>
        <p:txBody>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lvl1pPr>
            <a:lvl5pPr>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copytex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4" name="Title 3"/>
          <p:cNvSpPr>
            <a:spLocks noGrp="1"/>
          </p:cNvSpPr>
          <p:nvPr>
            <p:ph type="title" hasCustomPrompt="1"/>
            <p:custDataLst>
              <p:tags r:id="rId1"/>
            </p:custDataLst>
          </p:nvPr>
        </p:nvSpPr>
        <p:spPr bwMode="gray">
          <a:xfrm>
            <a:off x="623888" y="730800"/>
            <a:ext cx="10944225" cy="325952"/>
          </a:xfrm>
        </p:spPr>
        <p:txBody>
          <a:bodyPr/>
          <a:lstStyle>
            <a:lvl1pPr>
              <a:defRPr/>
            </a:lvl1pPr>
          </a:lstStyle>
          <a:p>
            <a:r>
              <a:rPr lang="en-US"/>
              <a:t>Insert slide title here (max. 2 lines | max. 1 line with Action Title)</a:t>
            </a:r>
          </a:p>
        </p:txBody>
      </p:sp>
      <p:sp>
        <p:nvSpPr>
          <p:cNvPr id="2" name="Fußzeilenplatzhalter 1">
            <a:extLst>
              <a:ext uri="{FF2B5EF4-FFF2-40B4-BE49-F238E27FC236}">
                <a16:creationId xmlns:a16="http://schemas.microsoft.com/office/drawing/2014/main" id="{2AB8F34D-A5C0-4BC9-B0F3-11856D9ED02E}"/>
              </a:ext>
            </a:extLst>
          </p:cNvPr>
          <p:cNvSpPr>
            <a:spLocks noGrp="1"/>
          </p:cNvSpPr>
          <p:nvPr>
            <p:ph type="ftr" sz="quarter" idx="15"/>
          </p:nvPr>
        </p:nvSpPr>
        <p:spPr bwMode="gray"/>
        <p:txBody>
          <a:bodyPr/>
          <a:lstStyle/>
          <a:p>
            <a:endParaRPr lang="fr-FR"/>
          </a:p>
        </p:txBody>
      </p:sp>
      <p:sp>
        <p:nvSpPr>
          <p:cNvPr id="3" name="Foliennummernplatzhalter 2">
            <a:extLst>
              <a:ext uri="{FF2B5EF4-FFF2-40B4-BE49-F238E27FC236}">
                <a16:creationId xmlns:a16="http://schemas.microsoft.com/office/drawing/2014/main" id="{C962AE53-FF41-4032-9C92-554890CB3881}"/>
              </a:ext>
            </a:extLst>
          </p:cNvPr>
          <p:cNvSpPr>
            <a:spLocks noGrp="1"/>
          </p:cNvSpPr>
          <p:nvPr>
            <p:ph type="sldNum" sz="quarter" idx="16"/>
          </p:nvPr>
        </p:nvSpPr>
        <p:spPr bwMode="gray"/>
        <p:txBody>
          <a:bodyPr/>
          <a:lstStyle/>
          <a:p>
            <a:fld id="{27C6CCC6-2BE5-4E42-96A4-D1E8E81A3D8E}" type="slidenum">
              <a:rPr lang="fr-FR" smtClean="0"/>
              <a:t>‹#›</a:t>
            </a:fld>
            <a:endParaRPr lang="fr-FR"/>
          </a:p>
        </p:txBody>
      </p:sp>
    </p:spTree>
    <p:extLst>
      <p:ext uri="{BB962C8B-B14F-4D97-AF65-F5344CB8AC3E}">
        <p14:creationId xmlns:p14="http://schemas.microsoft.com/office/powerpoint/2010/main" val="113950621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14" name="Content Placeholder 13"/>
          <p:cNvSpPr>
            <a:spLocks noGrp="1"/>
          </p:cNvSpPr>
          <p:nvPr>
            <p:ph sz="quarter" idx="16" hasCustomPrompt="1"/>
          </p:nvPr>
        </p:nvSpPr>
        <p:spPr bwMode="gray">
          <a:xfrm>
            <a:off x="6240464" y="1484313"/>
            <a:ext cx="532765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copytex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15" hasCustomPrompt="1"/>
          </p:nvPr>
        </p:nvSpPr>
        <p:spPr bwMode="gray">
          <a:xfrm>
            <a:off x="623392" y="1484313"/>
            <a:ext cx="532765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copytex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2" name="Title 1"/>
          <p:cNvSpPr>
            <a:spLocks noGrp="1"/>
          </p:cNvSpPr>
          <p:nvPr>
            <p:ph type="title" hasCustomPrompt="1"/>
          </p:nvPr>
        </p:nvSpPr>
        <p:spPr bwMode="gray">
          <a:xfrm>
            <a:off x="623888" y="730800"/>
            <a:ext cx="10944225" cy="325952"/>
          </a:xfrm>
        </p:spPr>
        <p:txBody>
          <a:bodyPr/>
          <a:lstStyle/>
          <a:p>
            <a:r>
              <a:rPr lang="en-US"/>
              <a:t>Insert slide title here (max. 2 lines | max. 1 line with Action Title)</a:t>
            </a:r>
          </a:p>
        </p:txBody>
      </p:sp>
      <p:sp>
        <p:nvSpPr>
          <p:cNvPr id="3" name="Fußzeilenplatzhalter 2">
            <a:extLst>
              <a:ext uri="{FF2B5EF4-FFF2-40B4-BE49-F238E27FC236}">
                <a16:creationId xmlns:a16="http://schemas.microsoft.com/office/drawing/2014/main" id="{5DEF66B1-2B35-4F3D-8FA1-45C43C92981D}"/>
              </a:ext>
            </a:extLst>
          </p:cNvPr>
          <p:cNvSpPr>
            <a:spLocks noGrp="1"/>
          </p:cNvSpPr>
          <p:nvPr>
            <p:ph type="ftr" sz="quarter" idx="17"/>
          </p:nvPr>
        </p:nvSpPr>
        <p:spPr bwMode="gray"/>
        <p:txBody>
          <a:bodyPr/>
          <a:lstStyle/>
          <a:p>
            <a:endParaRPr lang="fr-FR"/>
          </a:p>
        </p:txBody>
      </p:sp>
      <p:sp>
        <p:nvSpPr>
          <p:cNvPr id="4" name="Foliennummernplatzhalter 3">
            <a:extLst>
              <a:ext uri="{FF2B5EF4-FFF2-40B4-BE49-F238E27FC236}">
                <a16:creationId xmlns:a16="http://schemas.microsoft.com/office/drawing/2014/main" id="{6594110D-FB2C-4548-B1FA-4A7EB94F133E}"/>
              </a:ext>
            </a:extLst>
          </p:cNvPr>
          <p:cNvSpPr>
            <a:spLocks noGrp="1"/>
          </p:cNvSpPr>
          <p:nvPr>
            <p:ph type="sldNum" sz="quarter" idx="18"/>
          </p:nvPr>
        </p:nvSpPr>
        <p:spPr bwMode="gray"/>
        <p:txBody>
          <a:bodyPr/>
          <a:lstStyle/>
          <a:p>
            <a:fld id="{27C6CCC6-2BE5-4E42-96A4-D1E8E81A3D8E}" type="slidenum">
              <a:rPr lang="fr-FR" smtClean="0"/>
              <a:t>‹#›</a:t>
            </a:fld>
            <a:endParaRPr lang="fr-FR"/>
          </a:p>
        </p:txBody>
      </p:sp>
    </p:spTree>
    <p:extLst>
      <p:ext uri="{BB962C8B-B14F-4D97-AF65-F5344CB8AC3E}">
        <p14:creationId xmlns:p14="http://schemas.microsoft.com/office/powerpoint/2010/main" val="123401573"/>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15" name="Content Placeholder 14"/>
          <p:cNvSpPr>
            <a:spLocks noGrp="1"/>
          </p:cNvSpPr>
          <p:nvPr>
            <p:ph sz="quarter" idx="18" hasCustomPrompt="1"/>
          </p:nvPr>
        </p:nvSpPr>
        <p:spPr bwMode="gray">
          <a:xfrm>
            <a:off x="624845" y="1484314"/>
            <a:ext cx="3454931"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copytex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9" hasCustomPrompt="1"/>
          </p:nvPr>
        </p:nvSpPr>
        <p:spPr bwMode="gray">
          <a:xfrm>
            <a:off x="4368803" y="1484314"/>
            <a:ext cx="3455986"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copytex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8"/>
          <p:cNvSpPr>
            <a:spLocks noGrp="1"/>
          </p:cNvSpPr>
          <p:nvPr>
            <p:ph sz="quarter" idx="20" hasCustomPrompt="1"/>
          </p:nvPr>
        </p:nvSpPr>
        <p:spPr bwMode="gray">
          <a:xfrm>
            <a:off x="8112000" y="1484313"/>
            <a:ext cx="345600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copytex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4" name="Title 3"/>
          <p:cNvSpPr>
            <a:spLocks noGrp="1"/>
          </p:cNvSpPr>
          <p:nvPr>
            <p:ph type="title" hasCustomPrompt="1"/>
          </p:nvPr>
        </p:nvSpPr>
        <p:spPr bwMode="gray">
          <a:xfrm>
            <a:off x="623888" y="730801"/>
            <a:ext cx="10944225" cy="325952"/>
          </a:xfrm>
        </p:spPr>
        <p:txBody>
          <a:bodyPr/>
          <a:lstStyle/>
          <a:p>
            <a:r>
              <a:rPr lang="en-US"/>
              <a:t>Insert slide title here (max. 2 lines | max. 1 line with Action Title)</a:t>
            </a:r>
          </a:p>
        </p:txBody>
      </p:sp>
      <p:sp>
        <p:nvSpPr>
          <p:cNvPr id="2" name="Fußzeilenplatzhalter 1">
            <a:extLst>
              <a:ext uri="{FF2B5EF4-FFF2-40B4-BE49-F238E27FC236}">
                <a16:creationId xmlns:a16="http://schemas.microsoft.com/office/drawing/2014/main" id="{D1328EC7-157B-409E-AF0F-00B8B6EE2D12}"/>
              </a:ext>
            </a:extLst>
          </p:cNvPr>
          <p:cNvSpPr>
            <a:spLocks noGrp="1"/>
          </p:cNvSpPr>
          <p:nvPr>
            <p:ph type="ftr" sz="quarter" idx="21"/>
          </p:nvPr>
        </p:nvSpPr>
        <p:spPr bwMode="gray"/>
        <p:txBody>
          <a:bodyPr/>
          <a:lstStyle/>
          <a:p>
            <a:endParaRPr lang="fr-FR"/>
          </a:p>
        </p:txBody>
      </p:sp>
      <p:sp>
        <p:nvSpPr>
          <p:cNvPr id="3" name="Foliennummernplatzhalter 2">
            <a:extLst>
              <a:ext uri="{FF2B5EF4-FFF2-40B4-BE49-F238E27FC236}">
                <a16:creationId xmlns:a16="http://schemas.microsoft.com/office/drawing/2014/main" id="{82B2B86B-BA50-4AE8-98E0-0C5519E10E56}"/>
              </a:ext>
            </a:extLst>
          </p:cNvPr>
          <p:cNvSpPr>
            <a:spLocks noGrp="1"/>
          </p:cNvSpPr>
          <p:nvPr>
            <p:ph type="sldNum" sz="quarter" idx="22"/>
          </p:nvPr>
        </p:nvSpPr>
        <p:spPr bwMode="gray"/>
        <p:txBody>
          <a:bodyPr/>
          <a:lstStyle/>
          <a:p>
            <a:fld id="{27C6CCC6-2BE5-4E42-96A4-D1E8E81A3D8E}" type="slidenum">
              <a:rPr lang="fr-FR" smtClean="0"/>
              <a:t>‹#›</a:t>
            </a:fld>
            <a:endParaRPr lang="fr-FR"/>
          </a:p>
        </p:txBody>
      </p:sp>
    </p:spTree>
    <p:extLst>
      <p:ext uri="{BB962C8B-B14F-4D97-AF65-F5344CB8AC3E}">
        <p14:creationId xmlns:p14="http://schemas.microsoft.com/office/powerpoint/2010/main" val="178561094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9"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5" name="Title 4"/>
          <p:cNvSpPr>
            <a:spLocks noGrp="1"/>
          </p:cNvSpPr>
          <p:nvPr>
            <p:ph type="title" hasCustomPrompt="1"/>
          </p:nvPr>
        </p:nvSpPr>
        <p:spPr bwMode="gray">
          <a:xfrm>
            <a:off x="623888" y="730800"/>
            <a:ext cx="10944225" cy="325952"/>
          </a:xfrm>
        </p:spPr>
        <p:txBody>
          <a:bodyPr/>
          <a:lstStyle>
            <a:lvl1pPr>
              <a:defRPr/>
            </a:lvl1pPr>
          </a:lstStyle>
          <a:p>
            <a:r>
              <a:rPr lang="en-US"/>
              <a:t>Insert slide title here (max. 2 lines | max. 1 line with Action Title)</a:t>
            </a:r>
          </a:p>
        </p:txBody>
      </p:sp>
      <p:sp>
        <p:nvSpPr>
          <p:cNvPr id="2" name="Fußzeilenplatzhalter 1">
            <a:extLst>
              <a:ext uri="{FF2B5EF4-FFF2-40B4-BE49-F238E27FC236}">
                <a16:creationId xmlns:a16="http://schemas.microsoft.com/office/drawing/2014/main" id="{DC1A3A0B-4241-4AC5-A07E-A9AC7CC4A1B1}"/>
              </a:ext>
            </a:extLst>
          </p:cNvPr>
          <p:cNvSpPr>
            <a:spLocks noGrp="1"/>
          </p:cNvSpPr>
          <p:nvPr>
            <p:ph type="ftr" sz="quarter" idx="14"/>
          </p:nvPr>
        </p:nvSpPr>
        <p:spPr bwMode="gray"/>
        <p:txBody>
          <a:bodyPr/>
          <a:lstStyle/>
          <a:p>
            <a:endParaRPr lang="fr-FR"/>
          </a:p>
        </p:txBody>
      </p:sp>
      <p:sp>
        <p:nvSpPr>
          <p:cNvPr id="3" name="Foliennummernplatzhalter 2">
            <a:extLst>
              <a:ext uri="{FF2B5EF4-FFF2-40B4-BE49-F238E27FC236}">
                <a16:creationId xmlns:a16="http://schemas.microsoft.com/office/drawing/2014/main" id="{96E51C11-1DC2-48EC-9664-E7966335E18F}"/>
              </a:ext>
            </a:extLst>
          </p:cNvPr>
          <p:cNvSpPr>
            <a:spLocks noGrp="1"/>
          </p:cNvSpPr>
          <p:nvPr>
            <p:ph type="sldNum" sz="quarter" idx="15"/>
          </p:nvPr>
        </p:nvSpPr>
        <p:spPr bwMode="gray"/>
        <p:txBody>
          <a:bodyPr/>
          <a:lstStyle/>
          <a:p>
            <a:fld id="{27C6CCC6-2BE5-4E42-96A4-D1E8E81A3D8E}" type="slidenum">
              <a:rPr lang="fr-FR" smtClean="0"/>
              <a:t>‹#›</a:t>
            </a:fld>
            <a:endParaRPr lang="fr-FR"/>
          </a:p>
        </p:txBody>
      </p:sp>
    </p:spTree>
    <p:extLst>
      <p:ext uri="{BB962C8B-B14F-4D97-AF65-F5344CB8AC3E}">
        <p14:creationId xmlns:p14="http://schemas.microsoft.com/office/powerpoint/2010/main" val="12776514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1" imgW="353" imgH="353" progId="TCLayout.ActiveDocument.1">
                  <p:embed/>
                </p:oleObj>
              </mc:Choice>
              <mc:Fallback>
                <p:oleObj name="think-cell Slide" r:id="rId21" imgW="353" imgH="353" progId="TCLayout.ActiveDocument.1">
                  <p:embed/>
                  <p:pic>
                    <p:nvPicPr>
                      <p:cNvPr id="2" name="Object 1" hidden="1"/>
                      <p:cNvPicPr/>
                      <p:nvPr/>
                    </p:nvPicPr>
                    <p:blipFill>
                      <a:blip r:embed="rId22"/>
                      <a:stretch>
                        <a:fillRect/>
                      </a:stretch>
                    </p:blipFill>
                    <p:spPr>
                      <a:xfrm>
                        <a:off x="1588" y="1588"/>
                        <a:ext cx="1587" cy="1587"/>
                      </a:xfrm>
                      <a:prstGeom prst="rect">
                        <a:avLst/>
                      </a:prstGeom>
                    </p:spPr>
                  </p:pic>
                </p:oleObj>
              </mc:Fallback>
            </mc:AlternateContent>
          </a:graphicData>
        </a:graphic>
      </p:graphicFrame>
      <p:cxnSp>
        <p:nvCxnSpPr>
          <p:cNvPr id="14" name="Gerade Verbindung 36"/>
          <p:cNvCxnSpPr/>
          <p:nvPr/>
        </p:nvCxnSpPr>
        <p:spPr bwMode="gray">
          <a:xfrm flipV="1">
            <a:off x="624000" y="-171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5" name="Gerade Verbindung 37"/>
          <p:cNvCxnSpPr/>
          <p:nvPr/>
        </p:nvCxnSpPr>
        <p:spPr bwMode="gray">
          <a:xfrm flipV="1">
            <a:off x="1272000" y="-171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6" name="Gerade Verbindung 36"/>
          <p:cNvCxnSpPr/>
          <p:nvPr/>
        </p:nvCxnSpPr>
        <p:spPr bwMode="gray">
          <a:xfrm flipV="1">
            <a:off x="1560000" y="-170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7" name="Gerade Verbindung 37"/>
          <p:cNvCxnSpPr/>
          <p:nvPr/>
        </p:nvCxnSpPr>
        <p:spPr bwMode="gray">
          <a:xfrm flipV="1">
            <a:off x="2208000" y="-171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8" name="Gerade Verbindung 36"/>
          <p:cNvCxnSpPr/>
          <p:nvPr/>
        </p:nvCxnSpPr>
        <p:spPr bwMode="gray">
          <a:xfrm flipV="1">
            <a:off x="2496000" y="-170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9" name="Gerade Verbindung 37"/>
          <p:cNvCxnSpPr/>
          <p:nvPr/>
        </p:nvCxnSpPr>
        <p:spPr bwMode="gray">
          <a:xfrm flipV="1">
            <a:off x="3144000" y="-170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0" name="Gerade Verbindung 36"/>
          <p:cNvCxnSpPr/>
          <p:nvPr/>
        </p:nvCxnSpPr>
        <p:spPr bwMode="gray">
          <a:xfrm flipV="1">
            <a:off x="3432000" y="-169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1" name="Gerade Verbindung 37"/>
          <p:cNvCxnSpPr/>
          <p:nvPr/>
        </p:nvCxnSpPr>
        <p:spPr bwMode="gray">
          <a:xfrm flipV="1">
            <a:off x="4080000" y="-170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2" name="Gerade Verbindung 36"/>
          <p:cNvCxnSpPr/>
          <p:nvPr/>
        </p:nvCxnSpPr>
        <p:spPr bwMode="gray">
          <a:xfrm flipV="1">
            <a:off x="4368000" y="-169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3" name="Gerade Verbindung 37"/>
          <p:cNvCxnSpPr/>
          <p:nvPr/>
        </p:nvCxnSpPr>
        <p:spPr bwMode="gray">
          <a:xfrm flipV="1">
            <a:off x="5016000" y="-169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4" name="Gerade Verbindung 36"/>
          <p:cNvCxnSpPr/>
          <p:nvPr/>
        </p:nvCxnSpPr>
        <p:spPr bwMode="gray">
          <a:xfrm flipV="1">
            <a:off x="5304000" y="-169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5" name="Gerade Verbindung 37"/>
          <p:cNvCxnSpPr/>
          <p:nvPr/>
        </p:nvCxnSpPr>
        <p:spPr bwMode="gray">
          <a:xfrm flipV="1">
            <a:off x="5952000" y="-169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6" name="Gerade Verbindung 36"/>
          <p:cNvCxnSpPr/>
          <p:nvPr/>
        </p:nvCxnSpPr>
        <p:spPr bwMode="gray">
          <a:xfrm flipV="1">
            <a:off x="6240000" y="-168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7" name="Gerade Verbindung 37"/>
          <p:cNvCxnSpPr/>
          <p:nvPr/>
        </p:nvCxnSpPr>
        <p:spPr bwMode="gray">
          <a:xfrm flipV="1">
            <a:off x="6888000" y="-169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8" name="Gerade Verbindung 36"/>
          <p:cNvCxnSpPr/>
          <p:nvPr/>
        </p:nvCxnSpPr>
        <p:spPr bwMode="gray">
          <a:xfrm flipV="1">
            <a:off x="7176000" y="-168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9" name="Gerade Verbindung 37"/>
          <p:cNvCxnSpPr/>
          <p:nvPr/>
        </p:nvCxnSpPr>
        <p:spPr bwMode="gray">
          <a:xfrm flipV="1">
            <a:off x="7824000" y="-168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0" name="Gerade Verbindung 36"/>
          <p:cNvCxnSpPr/>
          <p:nvPr/>
        </p:nvCxnSpPr>
        <p:spPr bwMode="gray">
          <a:xfrm flipV="1">
            <a:off x="8112000" y="-167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1" name="Gerade Verbindung 37"/>
          <p:cNvCxnSpPr/>
          <p:nvPr/>
        </p:nvCxnSpPr>
        <p:spPr bwMode="gray">
          <a:xfrm flipV="1">
            <a:off x="8760000" y="-168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2" name="Gerade Verbindung 36"/>
          <p:cNvCxnSpPr/>
          <p:nvPr/>
        </p:nvCxnSpPr>
        <p:spPr bwMode="gray">
          <a:xfrm flipV="1">
            <a:off x="9048000" y="-167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3" name="Gerade Verbindung 37"/>
          <p:cNvCxnSpPr/>
          <p:nvPr/>
        </p:nvCxnSpPr>
        <p:spPr bwMode="gray">
          <a:xfrm flipV="1">
            <a:off x="9696000" y="-167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4" name="Gerade Verbindung 36"/>
          <p:cNvCxnSpPr/>
          <p:nvPr/>
        </p:nvCxnSpPr>
        <p:spPr bwMode="gray">
          <a:xfrm flipV="1">
            <a:off x="9984000" y="-16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5" name="Gerade Verbindung 37"/>
          <p:cNvCxnSpPr/>
          <p:nvPr/>
        </p:nvCxnSpPr>
        <p:spPr bwMode="gray">
          <a:xfrm flipV="1">
            <a:off x="10632000" y="-167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6" name="Gerade Verbindung 36"/>
          <p:cNvCxnSpPr/>
          <p:nvPr/>
        </p:nvCxnSpPr>
        <p:spPr bwMode="gray">
          <a:xfrm flipV="1">
            <a:off x="10920000" y="-16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7" name="Gerade Verbindung 37"/>
          <p:cNvCxnSpPr/>
          <p:nvPr/>
        </p:nvCxnSpPr>
        <p:spPr bwMode="gray">
          <a:xfrm flipV="1">
            <a:off x="11568000" y="-16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8" name="Gerade Verbindung 36"/>
          <p:cNvCxnSpPr/>
          <p:nvPr/>
        </p:nvCxnSpPr>
        <p:spPr bwMode="gray">
          <a:xfrm flipV="1">
            <a:off x="624000" y="6952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9" name="Gerade Verbindung 37"/>
          <p:cNvCxnSpPr/>
          <p:nvPr/>
        </p:nvCxnSpPr>
        <p:spPr bwMode="gray">
          <a:xfrm flipV="1">
            <a:off x="1272000" y="6952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0" name="Gerade Verbindung 36"/>
          <p:cNvCxnSpPr/>
          <p:nvPr/>
        </p:nvCxnSpPr>
        <p:spPr bwMode="gray">
          <a:xfrm flipV="1">
            <a:off x="1560000" y="6953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1" name="Gerade Verbindung 37"/>
          <p:cNvCxnSpPr/>
          <p:nvPr/>
        </p:nvCxnSpPr>
        <p:spPr bwMode="gray">
          <a:xfrm flipV="1">
            <a:off x="2208000" y="6952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2" name="Gerade Verbindung 36"/>
          <p:cNvCxnSpPr/>
          <p:nvPr/>
        </p:nvCxnSpPr>
        <p:spPr bwMode="gray">
          <a:xfrm flipV="1">
            <a:off x="2496000" y="6953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3" name="Gerade Verbindung 37"/>
          <p:cNvCxnSpPr/>
          <p:nvPr/>
        </p:nvCxnSpPr>
        <p:spPr bwMode="gray">
          <a:xfrm flipV="1">
            <a:off x="3144000" y="6953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4" name="Gerade Verbindung 36"/>
          <p:cNvCxnSpPr/>
          <p:nvPr/>
        </p:nvCxnSpPr>
        <p:spPr bwMode="gray">
          <a:xfrm flipV="1">
            <a:off x="3432000" y="6953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5" name="Gerade Verbindung 37"/>
          <p:cNvCxnSpPr/>
          <p:nvPr/>
        </p:nvCxnSpPr>
        <p:spPr bwMode="gray">
          <a:xfrm flipV="1">
            <a:off x="4080000" y="6953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6" name="Gerade Verbindung 36"/>
          <p:cNvCxnSpPr/>
          <p:nvPr/>
        </p:nvCxnSpPr>
        <p:spPr bwMode="gray">
          <a:xfrm flipV="1">
            <a:off x="4368000" y="6954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7" name="Gerade Verbindung 37"/>
          <p:cNvCxnSpPr/>
          <p:nvPr/>
        </p:nvCxnSpPr>
        <p:spPr bwMode="gray">
          <a:xfrm flipV="1">
            <a:off x="5016000" y="6953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8" name="Gerade Verbindung 36"/>
          <p:cNvCxnSpPr/>
          <p:nvPr/>
        </p:nvCxnSpPr>
        <p:spPr bwMode="gray">
          <a:xfrm flipV="1">
            <a:off x="5304000" y="6954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9" name="Gerade Verbindung 37"/>
          <p:cNvCxnSpPr/>
          <p:nvPr/>
        </p:nvCxnSpPr>
        <p:spPr bwMode="gray">
          <a:xfrm flipV="1">
            <a:off x="5952000" y="6954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0" name="Gerade Verbindung 36"/>
          <p:cNvCxnSpPr/>
          <p:nvPr/>
        </p:nvCxnSpPr>
        <p:spPr bwMode="gray">
          <a:xfrm flipV="1">
            <a:off x="6240000" y="6955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1" name="Gerade Verbindung 37"/>
          <p:cNvCxnSpPr/>
          <p:nvPr/>
        </p:nvCxnSpPr>
        <p:spPr bwMode="gray">
          <a:xfrm flipV="1">
            <a:off x="6888000" y="6954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2" name="Gerade Verbindung 36"/>
          <p:cNvCxnSpPr/>
          <p:nvPr/>
        </p:nvCxnSpPr>
        <p:spPr bwMode="gray">
          <a:xfrm flipV="1">
            <a:off x="7176000" y="6955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3" name="Gerade Verbindung 37"/>
          <p:cNvCxnSpPr/>
          <p:nvPr/>
        </p:nvCxnSpPr>
        <p:spPr bwMode="gray">
          <a:xfrm flipV="1">
            <a:off x="7824000" y="6955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4" name="Gerade Verbindung 36"/>
          <p:cNvCxnSpPr/>
          <p:nvPr/>
        </p:nvCxnSpPr>
        <p:spPr bwMode="gray">
          <a:xfrm flipV="1">
            <a:off x="8112000" y="6955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5" name="Gerade Verbindung 37"/>
          <p:cNvCxnSpPr/>
          <p:nvPr/>
        </p:nvCxnSpPr>
        <p:spPr bwMode="gray">
          <a:xfrm flipV="1">
            <a:off x="8760000" y="6955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6" name="Gerade Verbindung 36"/>
          <p:cNvCxnSpPr/>
          <p:nvPr/>
        </p:nvCxnSpPr>
        <p:spPr bwMode="gray">
          <a:xfrm flipV="1">
            <a:off x="9048000" y="6956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7" name="Gerade Verbindung 37"/>
          <p:cNvCxnSpPr/>
          <p:nvPr/>
        </p:nvCxnSpPr>
        <p:spPr bwMode="gray">
          <a:xfrm flipV="1">
            <a:off x="9696000" y="6955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8" name="Gerade Verbindung 36"/>
          <p:cNvCxnSpPr/>
          <p:nvPr/>
        </p:nvCxnSpPr>
        <p:spPr bwMode="gray">
          <a:xfrm flipV="1">
            <a:off x="9984000" y="695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9" name="Gerade Verbindung 37"/>
          <p:cNvCxnSpPr/>
          <p:nvPr/>
        </p:nvCxnSpPr>
        <p:spPr bwMode="gray">
          <a:xfrm flipV="1">
            <a:off x="10632000" y="6956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0" name="Gerade Verbindung 36"/>
          <p:cNvCxnSpPr/>
          <p:nvPr/>
        </p:nvCxnSpPr>
        <p:spPr bwMode="gray">
          <a:xfrm flipV="1">
            <a:off x="10920000" y="695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1" name="Gerade Verbindung 37"/>
          <p:cNvCxnSpPr/>
          <p:nvPr/>
        </p:nvCxnSpPr>
        <p:spPr bwMode="gray">
          <a:xfrm flipV="1">
            <a:off x="11568000" y="695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p:nvCxnSpPr>
        <p:spPr bwMode="gray">
          <a:xfrm rot="5400000" flipV="1">
            <a:off x="-192704" y="1437000"/>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p:nvCxnSpPr>
        <p:spPr bwMode="gray">
          <a:xfrm rot="5400000" flipV="1">
            <a:off x="-192704" y="6045296"/>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4" name="Gerade Verbindung 64"/>
          <p:cNvCxnSpPr/>
          <p:nvPr/>
        </p:nvCxnSpPr>
        <p:spPr bwMode="gray">
          <a:xfrm rot="5400000" flipV="1">
            <a:off x="-192704" y="356664"/>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sp>
        <p:nvSpPr>
          <p:cNvPr id="65" name="empower - DO NOT DELETE!!!"/>
          <p:cNvSpPr/>
          <p:nvPr>
            <p:custDataLst>
              <p:tags r:id="rId17"/>
            </p:custDataLst>
          </p:nvPr>
        </p:nvSpPr>
        <p:spPr bwMode="gray">
          <a:xfrm>
            <a:off x="-1270000" y="-1270000"/>
            <a:ext cx="0" cy="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66" name="Slide Number Placeholder 65"/>
          <p:cNvSpPr>
            <a:spLocks noGrp="1"/>
          </p:cNvSpPr>
          <p:nvPr>
            <p:ph type="sldNum" sz="quarter" idx="4"/>
          </p:nvPr>
        </p:nvSpPr>
        <p:spPr bwMode="gray">
          <a:xfrm>
            <a:off x="624001" y="6380999"/>
            <a:ext cx="648000" cy="216172"/>
          </a:xfrm>
          <a:prstGeom prst="rect">
            <a:avLst/>
          </a:prstGeom>
        </p:spPr>
        <p:txBody>
          <a:bodyPr vert="horz" lIns="0" tIns="0" rIns="0" bIns="36000" rtlCol="0" anchor="b" anchorCtr="0"/>
          <a:lstStyle>
            <a:lvl1pPr>
              <a:defRPr lang="de-DE" sz="8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27C6CCC6-2BE5-4E42-96A4-D1E8E81A3D8E}" type="slidenum">
              <a:rPr lang="fr-FR" smtClean="0"/>
              <a:t>‹#›</a:t>
            </a:fld>
            <a:endParaRPr lang="fr-FR"/>
          </a:p>
        </p:txBody>
      </p:sp>
      <p:sp>
        <p:nvSpPr>
          <p:cNvPr id="67" name="Footer Placeholder 66"/>
          <p:cNvSpPr>
            <a:spLocks noGrp="1"/>
          </p:cNvSpPr>
          <p:nvPr>
            <p:ph type="ftr" sz="quarter" idx="3"/>
          </p:nvPr>
        </p:nvSpPr>
        <p:spPr bwMode="gray">
          <a:xfrm>
            <a:off x="1272000" y="6380999"/>
            <a:ext cx="8718972" cy="216172"/>
          </a:xfrm>
          <a:prstGeom prst="rect">
            <a:avLst/>
          </a:prstGeom>
        </p:spPr>
        <p:txBody>
          <a:bodyPr vert="horz" lIns="0" tIns="0" rIns="0" bIns="36000" rtlCol="0" anchor="b" anchorCtr="0"/>
          <a:lstStyle>
            <a:lvl1pPr>
              <a:defRPr lang="de-DE" sz="8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fr-FR"/>
          </a:p>
        </p:txBody>
      </p:sp>
      <p:sp>
        <p:nvSpPr>
          <p:cNvPr id="13" name="Text Placeholder 12"/>
          <p:cNvSpPr>
            <a:spLocks noGrp="1"/>
          </p:cNvSpPr>
          <p:nvPr>
            <p:ph type="body" idx="1"/>
          </p:nvPr>
        </p:nvSpPr>
        <p:spPr bwMode="gray">
          <a:xfrm>
            <a:off x="623888" y="1485000"/>
            <a:ext cx="10944227" cy="4607824"/>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Title Placeholder 3"/>
          <p:cNvSpPr>
            <a:spLocks noGrp="1"/>
          </p:cNvSpPr>
          <p:nvPr>
            <p:ph type="title"/>
          </p:nvPr>
        </p:nvSpPr>
        <p:spPr bwMode="gray">
          <a:xfrm>
            <a:off x="623888" y="404813"/>
            <a:ext cx="10944225" cy="651939"/>
          </a:xfrm>
          <a:prstGeom prst="rect">
            <a:avLst/>
          </a:prstGeom>
          <a:noFill/>
        </p:spPr>
        <p:txBody>
          <a:bodyPr vert="horz" lIns="0" tIns="0" rIns="0" bIns="18000" rtlCol="0" anchor="b" anchorCtr="0">
            <a:noAutofit/>
          </a:bodyPr>
          <a:lstStyle/>
          <a:p>
            <a:pPr lvl="0">
              <a:lnSpc>
                <a:spcPct val="100000"/>
              </a:lnSpc>
            </a:pPr>
            <a:r>
              <a:rPr lang="en-US" noProof="0"/>
              <a:t>Insert slide title here (max. 2 lines | max. 1 line with Action Title)</a:t>
            </a:r>
          </a:p>
        </p:txBody>
      </p:sp>
      <p:grpSp>
        <p:nvGrpSpPr>
          <p:cNvPr id="7" name="Logo Merck"/>
          <p:cNvGrpSpPr>
            <a:grpSpLocks noChangeAspect="1"/>
          </p:cNvGrpSpPr>
          <p:nvPr>
            <p:custDataLst>
              <p:tags r:id="rId18"/>
            </p:custDataLst>
          </p:nvPr>
        </p:nvGrpSpPr>
        <p:grpSpPr bwMode="gray">
          <a:xfrm>
            <a:off x="10539522" y="6440320"/>
            <a:ext cx="1028592" cy="162000"/>
            <a:chOff x="-4548188" y="3063875"/>
            <a:chExt cx="2741613" cy="431800"/>
          </a:xfrm>
          <a:solidFill>
            <a:schemeClr val="bg2"/>
          </a:solidFill>
        </p:grpSpPr>
        <p:sp>
          <p:nvSpPr>
            <p:cNvPr id="8" name="Logo K"/>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Logo C"/>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ogo R"/>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ogo E"/>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Logo M"/>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empower - DO NOT DELETE!!!"/>
          <p:cNvSpPr/>
          <p:nvPr>
            <p:custDataLst>
              <p:tags r:id="rId19"/>
            </p:custDataLst>
          </p:nvPr>
        </p:nvSpPr>
        <p:spPr bwMode="gray">
          <a:xfrm>
            <a:off x="-63500" y="-63500"/>
            <a:ext cx="0" cy="0"/>
          </a:xfrm>
          <a:prstGeom prst="ellipse">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sp>
        <p:nvSpPr>
          <p:cNvPr id="5" name="empower - DO NOT DELETE!!!" hidden="1"/>
          <p:cNvSpPr/>
          <p:nvPr>
            <p:custDataLst>
              <p:tags r:id="rId20"/>
            </p:custDataLst>
          </p:nvPr>
        </p:nvSpPr>
        <p:spPr bwMode="gray">
          <a:xfrm>
            <a:off x="0" y="0"/>
            <a:ext cx="0" cy="0"/>
          </a:xfrm>
          <a:prstGeom prst="ellipse">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sp>
        <p:nvSpPr>
          <p:cNvPr id="68" name="TextBox 67">
            <a:extLst>
              <a:ext uri="{FF2B5EF4-FFF2-40B4-BE49-F238E27FC236}">
                <a16:creationId xmlns:a16="http://schemas.microsoft.com/office/drawing/2014/main" id="{013DF76A-657E-69F0-3BE6-87FCAE872A54}"/>
              </a:ext>
            </a:extLst>
          </p:cNvPr>
          <p:cNvSpPr txBox="1"/>
          <p:nvPr>
            <p:extLst>
              <p:ext uri="{1162E1C5-73C7-4A58-AE30-91384D911F3F}">
                <p184:classification xmlns:p184="http://schemas.microsoft.com/office/powerpoint/2018/4/main" val="hdr"/>
              </p:ext>
            </p:extLst>
          </p:nvPr>
        </p:nvSpPr>
        <p:spPr>
          <a:xfrm>
            <a:off x="5472113" y="63500"/>
            <a:ext cx="1276350" cy="152400"/>
          </a:xfrm>
          <a:prstGeom prst="rect">
            <a:avLst/>
          </a:prstGeom>
        </p:spPr>
        <p:txBody>
          <a:bodyPr horzOverflow="overflow" lIns="0" tIns="0" rIns="0" bIns="0">
            <a:spAutoFit/>
          </a:bodyPr>
          <a:lstStyle/>
          <a:p>
            <a:pPr algn="l"/>
            <a:r>
              <a:rPr lang="en-US" sz="1000">
                <a:solidFill>
                  <a:srgbClr val="0078D7"/>
                </a:solidFill>
                <a:latin typeface="Calibri" panose="020F0502020204030204" pitchFamily="34" charset="0"/>
                <a:ea typeface="Calibri" panose="020F0502020204030204" pitchFamily="34" charset="0"/>
                <a:cs typeface="Calibri" panose="020F0502020204030204" pitchFamily="34" charset="0"/>
              </a:rPr>
              <a:t>Classification: INTERNAL</a:t>
            </a:r>
          </a:p>
        </p:txBody>
      </p:sp>
    </p:spTree>
    <p:extLst>
      <p:ext uri="{BB962C8B-B14F-4D97-AF65-F5344CB8AC3E}">
        <p14:creationId xmlns:p14="http://schemas.microsoft.com/office/powerpoint/2010/main" val="328916282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Lst>
  <p:txStyles>
    <p:titleStyle>
      <a:lvl1pPr algn="l" defTabSz="914400" rtl="0" eaLnBrk="1" latinLnBrk="0" hangingPunct="1">
        <a:lnSpc>
          <a:spcPts val="2400"/>
        </a:lnSpc>
        <a:spcBef>
          <a:spcPct val="0"/>
        </a:spcBef>
        <a:buNone/>
        <a:defRPr lang="de-DE" sz="2200" b="1" kern="1200" baseline="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5000"/>
        </a:lnSpc>
        <a:spcBef>
          <a:spcPts val="600"/>
        </a:spcBef>
        <a:spcAft>
          <a:spcPts val="300"/>
        </a:spcAft>
        <a:buFont typeface="Arial" panose="020B0604020202020204" pitchFamily="34" charset="0"/>
        <a:buNone/>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chemeClr val="accent1"/>
        </a:buClr>
        <a:buFont typeface="Wingdings" panose="05000000000000000000" pitchFamily="2" charset="2"/>
        <a:buChar char=""/>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chemeClr val="accent1"/>
        </a:buClr>
        <a:buFont typeface="Symbol" panose="05050102010706020507" pitchFamily="18" charset="2"/>
        <a:buChar char="-"/>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de-DE"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p:bodyStyle>
    <p:otherStyle>
      <a:defPPr>
        <a:defRPr lang="fr-FR"/>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orient="horz" pos="935">
          <p15:clr>
            <a:srgbClr val="F26B43"/>
          </p15:clr>
        </p15:guide>
        <p15:guide id="3" orient="horz" pos="3838">
          <p15:clr>
            <a:srgbClr val="F26B43"/>
          </p15:clr>
        </p15:guide>
        <p15:guide id="4" pos="393">
          <p15:clr>
            <a:srgbClr val="F26B43"/>
          </p15:clr>
        </p15:guide>
        <p15:guide id="5" pos="728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15.png"/><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4.png"/><Relationship Id="rId1" Type="http://schemas.openxmlformats.org/officeDocument/2006/relationships/slideLayout" Target="../slideLayouts/slideLayout6.xml"/><Relationship Id="rId6" Type="http://schemas.openxmlformats.org/officeDocument/2006/relationships/image" Target="../media/image29.jpeg"/><Relationship Id="rId5" Type="http://schemas.openxmlformats.org/officeDocument/2006/relationships/image" Target="../media/image28.png"/><Relationship Id="rId4" Type="http://schemas.openxmlformats.org/officeDocument/2006/relationships/image" Target="../media/image27.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17.xml"/><Relationship Id="rId7" Type="http://schemas.openxmlformats.org/officeDocument/2006/relationships/slideLayout" Target="../slideLayouts/slideLayout10.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5" Type="http://schemas.openxmlformats.org/officeDocument/2006/relationships/tags" Target="../tags/tag19.xml"/><Relationship Id="rId10" Type="http://schemas.openxmlformats.org/officeDocument/2006/relationships/image" Target="../media/image6.png"/><Relationship Id="rId4" Type="http://schemas.openxmlformats.org/officeDocument/2006/relationships/tags" Target="../tags/tag18.xml"/><Relationship Id="rId9"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hyperlink" Target="https://mdigital-my.sharepoint.com/personal/m312649_one_merckgroup_com/Documents/Documents/Administratif/VEVEY_2212.xlsx?web=1" TargetMode="External"/><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3.xml"/><Relationship Id="rId7" Type="http://schemas.openxmlformats.org/officeDocument/2006/relationships/notesSlide" Target="../notesSlides/notesSlide3.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slideLayout" Target="../slideLayouts/slideLayout10.xml"/><Relationship Id="rId5" Type="http://schemas.openxmlformats.org/officeDocument/2006/relationships/tags" Target="../tags/tag25.xml"/><Relationship Id="rId4" Type="http://schemas.openxmlformats.org/officeDocument/2006/relationships/tags" Target="../tags/tag2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866FA04-9816-02D4-C537-B9D35DD95895}"/>
              </a:ext>
            </a:extLst>
          </p:cNvPr>
          <p:cNvSpPr>
            <a:spLocks noGrp="1"/>
          </p:cNvSpPr>
          <p:nvPr>
            <p:ph type="body" sz="quarter" idx="10"/>
          </p:nvPr>
        </p:nvSpPr>
        <p:spPr/>
        <p:txBody>
          <a:bodyPr/>
          <a:lstStyle/>
          <a:p>
            <a:r>
              <a:rPr lang="en-US"/>
              <a:t>Julien Koerber</a:t>
            </a:r>
          </a:p>
          <a:p>
            <a:r>
              <a:rPr lang="en-US" err="1"/>
              <a:t>Molsheim</a:t>
            </a:r>
            <a:r>
              <a:rPr lang="en-US"/>
              <a:t>, 28</a:t>
            </a:r>
            <a:r>
              <a:rPr lang="en-US" baseline="30000"/>
              <a:t>th</a:t>
            </a:r>
            <a:r>
              <a:rPr lang="en-US"/>
              <a:t> of March 2025</a:t>
            </a:r>
          </a:p>
        </p:txBody>
      </p:sp>
      <p:sp>
        <p:nvSpPr>
          <p:cNvPr id="8" name="Subtitle 7">
            <a:extLst>
              <a:ext uri="{FF2B5EF4-FFF2-40B4-BE49-F238E27FC236}">
                <a16:creationId xmlns:a16="http://schemas.microsoft.com/office/drawing/2014/main" id="{03AA6220-A530-30BC-5A94-77EC74562E53}"/>
              </a:ext>
            </a:extLst>
          </p:cNvPr>
          <p:cNvSpPr>
            <a:spLocks noGrp="1"/>
          </p:cNvSpPr>
          <p:nvPr>
            <p:ph type="subTitle" idx="1"/>
          </p:nvPr>
        </p:nvSpPr>
        <p:spPr/>
        <p:txBody>
          <a:bodyPr/>
          <a:lstStyle/>
          <a:p>
            <a:endParaRPr lang="en-US"/>
          </a:p>
        </p:txBody>
      </p:sp>
      <p:sp>
        <p:nvSpPr>
          <p:cNvPr id="7" name="Title 6">
            <a:extLst>
              <a:ext uri="{FF2B5EF4-FFF2-40B4-BE49-F238E27FC236}">
                <a16:creationId xmlns:a16="http://schemas.microsoft.com/office/drawing/2014/main" id="{12A72D36-D736-71C8-7B71-990A48D6C26A}"/>
              </a:ext>
            </a:extLst>
          </p:cNvPr>
          <p:cNvSpPr>
            <a:spLocks noGrp="1"/>
          </p:cNvSpPr>
          <p:nvPr>
            <p:ph type="ctrTitle"/>
          </p:nvPr>
        </p:nvSpPr>
        <p:spPr/>
        <p:txBody>
          <a:bodyPr/>
          <a:lstStyle/>
          <a:p>
            <a:r>
              <a:rPr lang="en-US"/>
              <a:t>Asset Management</a:t>
            </a:r>
            <a:br>
              <a:rPr lang="en-US"/>
            </a:br>
            <a:r>
              <a:rPr lang="en-US"/>
              <a:t>Snipe-it</a:t>
            </a:r>
          </a:p>
        </p:txBody>
      </p:sp>
    </p:spTree>
    <p:extLst>
      <p:ext uri="{BB962C8B-B14F-4D97-AF65-F5344CB8AC3E}">
        <p14:creationId xmlns:p14="http://schemas.microsoft.com/office/powerpoint/2010/main" val="3784089036"/>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8E88944-382E-C9EF-781F-8F2302F5FA03}"/>
              </a:ext>
            </a:extLst>
          </p:cNvPr>
          <p:cNvSpPr>
            <a:spLocks noGrp="1"/>
          </p:cNvSpPr>
          <p:nvPr>
            <p:ph sz="quarter" idx="14"/>
          </p:nvPr>
        </p:nvSpPr>
        <p:spPr>
          <a:xfrm>
            <a:off x="623888" y="1402698"/>
            <a:ext cx="10944227" cy="2743340"/>
          </a:xfrm>
        </p:spPr>
        <p:txBody>
          <a:bodyPr/>
          <a:lstStyle/>
          <a:p>
            <a:pPr marL="0" indent="0">
              <a:buNone/>
            </a:pPr>
            <a:r>
              <a:rPr lang="en-US" altLang="zh-CN" dirty="0"/>
              <a:t>Main features of Snipe-it related to asset management:</a:t>
            </a:r>
          </a:p>
          <a:p>
            <a:pPr marL="285750" indent="-285750">
              <a:buFontTx/>
              <a:buChar char="-"/>
            </a:pPr>
            <a:r>
              <a:rPr lang="en-US" altLang="zh-CN" b="1" dirty="0"/>
              <a:t>Asset Tracking</a:t>
            </a:r>
            <a:r>
              <a:rPr lang="en-US" altLang="zh-CN" dirty="0"/>
              <a:t>: location of the asset</a:t>
            </a:r>
          </a:p>
          <a:p>
            <a:pPr marL="285750" indent="-285750">
              <a:buFontTx/>
              <a:buChar char="-"/>
            </a:pPr>
            <a:r>
              <a:rPr lang="en-US" altLang="zh-CN" b="1" dirty="0"/>
              <a:t>Check-out / Check-in</a:t>
            </a:r>
            <a:r>
              <a:rPr lang="en-US" altLang="zh-CN" dirty="0"/>
              <a:t>: Users can reserve assets for a specified duration and return them</a:t>
            </a:r>
          </a:p>
          <a:p>
            <a:pPr marL="285750" indent="-285750">
              <a:buFontTx/>
              <a:buChar char="-"/>
            </a:pPr>
            <a:r>
              <a:rPr lang="en-US" altLang="zh-CN" b="1" dirty="0"/>
              <a:t>Reporting and Analytics</a:t>
            </a:r>
            <a:r>
              <a:rPr lang="en-US" altLang="zh-CN" dirty="0"/>
              <a:t>: The platform offers reporting tools to analyze asset usage</a:t>
            </a:r>
          </a:p>
          <a:p>
            <a:pPr marL="285750" indent="-285750">
              <a:buFontTx/>
              <a:buChar char="-"/>
            </a:pPr>
            <a:r>
              <a:rPr lang="en-US" altLang="zh-CN" b="1" dirty="0"/>
              <a:t>User Management</a:t>
            </a:r>
            <a:r>
              <a:rPr lang="en-US" altLang="zh-CN" dirty="0"/>
              <a:t>: Administrators can manage user roles and permissions. Team member have appropriate access to asset information</a:t>
            </a:r>
          </a:p>
          <a:p>
            <a:pPr marL="285750" indent="-285750">
              <a:buFontTx/>
              <a:buChar char="-"/>
            </a:pPr>
            <a:r>
              <a:rPr lang="en-US" altLang="zh-CN" b="1" dirty="0"/>
              <a:t>Custom Fields</a:t>
            </a:r>
            <a:r>
              <a:rPr lang="en-US" altLang="zh-CN" dirty="0"/>
              <a:t>: Users can create custom fields to capture additional information</a:t>
            </a:r>
            <a:endParaRPr lang="en-US" altLang="zh-CN" b="1" dirty="0"/>
          </a:p>
        </p:txBody>
      </p:sp>
      <p:sp>
        <p:nvSpPr>
          <p:cNvPr id="3" name="Text Placeholder 2">
            <a:extLst>
              <a:ext uri="{FF2B5EF4-FFF2-40B4-BE49-F238E27FC236}">
                <a16:creationId xmlns:a16="http://schemas.microsoft.com/office/drawing/2014/main" id="{E2C2FF65-CF30-8057-76A7-39DA90F9EBD2}"/>
              </a:ext>
            </a:extLst>
          </p:cNvPr>
          <p:cNvSpPr>
            <a:spLocks noGrp="1"/>
          </p:cNvSpPr>
          <p:nvPr>
            <p:ph type="body" sz="quarter" idx="13"/>
          </p:nvPr>
        </p:nvSpPr>
        <p:spPr>
          <a:xfrm>
            <a:off x="623888" y="383212"/>
            <a:ext cx="10944225" cy="398144"/>
          </a:xfrm>
        </p:spPr>
        <p:txBody>
          <a:bodyPr/>
          <a:lstStyle/>
          <a:p>
            <a:endParaRPr lang="en-US" altLang="zh-CN"/>
          </a:p>
        </p:txBody>
      </p:sp>
      <p:sp>
        <p:nvSpPr>
          <p:cNvPr id="4" name="Title 3">
            <a:extLst>
              <a:ext uri="{FF2B5EF4-FFF2-40B4-BE49-F238E27FC236}">
                <a16:creationId xmlns:a16="http://schemas.microsoft.com/office/drawing/2014/main" id="{0D821D37-FBA1-C5F9-E52E-B3E13106BED8}"/>
              </a:ext>
            </a:extLst>
          </p:cNvPr>
          <p:cNvSpPr>
            <a:spLocks noGrp="1"/>
          </p:cNvSpPr>
          <p:nvPr>
            <p:ph type="title"/>
          </p:nvPr>
        </p:nvSpPr>
        <p:spPr/>
        <p:txBody>
          <a:bodyPr/>
          <a:lstStyle/>
          <a:p>
            <a:r>
              <a:rPr lang="en-US" altLang="zh-CN" sz="2800"/>
              <a:t>Asset Management: What is it ?</a:t>
            </a:r>
            <a:br>
              <a:rPr lang="en-US" altLang="zh-CN" sz="2800"/>
            </a:br>
            <a:r>
              <a:rPr lang="en-US" altLang="zh-CN" sz="2000"/>
              <a:t>Presenting Snipe-it</a:t>
            </a:r>
            <a:endParaRPr lang="en-US" altLang="zh-CN" sz="2800"/>
          </a:p>
        </p:txBody>
      </p:sp>
      <p:sp>
        <p:nvSpPr>
          <p:cNvPr id="5" name="Footer Placeholder 4">
            <a:extLst>
              <a:ext uri="{FF2B5EF4-FFF2-40B4-BE49-F238E27FC236}">
                <a16:creationId xmlns:a16="http://schemas.microsoft.com/office/drawing/2014/main" id="{1209BF82-0688-DB4A-CC0A-93EAB5A27EAC}"/>
              </a:ext>
            </a:extLst>
          </p:cNvPr>
          <p:cNvSpPr>
            <a:spLocks noGrp="1"/>
          </p:cNvSpPr>
          <p:nvPr>
            <p:ph type="ftr" sz="quarter" idx="15"/>
          </p:nvPr>
        </p:nvSpPr>
        <p:spPr/>
        <p:txBody>
          <a:bodyPr/>
          <a:lstStyle/>
          <a:p>
            <a:r>
              <a:rPr lang="en-US"/>
              <a:t>Asset Management 28/03/2025</a:t>
            </a:r>
          </a:p>
        </p:txBody>
      </p:sp>
      <p:sp>
        <p:nvSpPr>
          <p:cNvPr id="6" name="Slide Number Placeholder 5">
            <a:extLst>
              <a:ext uri="{FF2B5EF4-FFF2-40B4-BE49-F238E27FC236}">
                <a16:creationId xmlns:a16="http://schemas.microsoft.com/office/drawing/2014/main" id="{632B678A-37AC-B4B3-AE63-0CAEBC6D2686}"/>
              </a:ext>
            </a:extLst>
          </p:cNvPr>
          <p:cNvSpPr>
            <a:spLocks noGrp="1"/>
          </p:cNvSpPr>
          <p:nvPr>
            <p:ph type="sldNum" sz="quarter" idx="16"/>
          </p:nvPr>
        </p:nvSpPr>
        <p:spPr/>
        <p:txBody>
          <a:bodyPr/>
          <a:lstStyle/>
          <a:p>
            <a:fld id="{FD5E7EB4-4CDF-47BB-AF16-07782904B863}" type="slidenum">
              <a:rPr lang="en-US" smtClean="0"/>
              <a:pPr/>
              <a:t>10</a:t>
            </a:fld>
            <a:endParaRPr lang="en-US"/>
          </a:p>
        </p:txBody>
      </p:sp>
      <p:sp>
        <p:nvSpPr>
          <p:cNvPr id="7" name="Rectangle: Rounded Corners 6">
            <a:extLst>
              <a:ext uri="{FF2B5EF4-FFF2-40B4-BE49-F238E27FC236}">
                <a16:creationId xmlns:a16="http://schemas.microsoft.com/office/drawing/2014/main" id="{B4259E3F-45A5-4A91-1C04-756FFD232008}"/>
              </a:ext>
            </a:extLst>
          </p:cNvPr>
          <p:cNvSpPr/>
          <p:nvPr/>
        </p:nvSpPr>
        <p:spPr bwMode="gray">
          <a:xfrm>
            <a:off x="10612149" y="440224"/>
            <a:ext cx="955964" cy="507077"/>
          </a:xfrm>
          <a:prstGeom prst="roundRect">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r>
              <a:rPr lang="fr-FR" altLang="zh-CN" sz="1600" kern="0">
                <a:solidFill>
                  <a:srgbClr val="FFFFFF"/>
                </a:solidFill>
                <a:latin typeface="Verdana"/>
              </a:rPr>
              <a:t>Julien</a:t>
            </a:r>
            <a:endParaRPr lang="zh-CN" altLang="fr-FR" sz="1600" kern="0">
              <a:solidFill>
                <a:srgbClr val="FFFFFF"/>
              </a:solidFill>
              <a:latin typeface="Verdana"/>
            </a:endParaRPr>
          </a:p>
        </p:txBody>
      </p:sp>
    </p:spTree>
    <p:extLst>
      <p:ext uri="{BB962C8B-B14F-4D97-AF65-F5344CB8AC3E}">
        <p14:creationId xmlns:p14="http://schemas.microsoft.com/office/powerpoint/2010/main" val="7879966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3067760D-F397-F6CE-3D2C-D6C47E4A92CB}"/>
              </a:ext>
            </a:extLst>
          </p:cNvPr>
          <p:cNvSpPr>
            <a:spLocks noGrp="1"/>
          </p:cNvSpPr>
          <p:nvPr>
            <p:ph type="body" sz="quarter" idx="13"/>
          </p:nvPr>
        </p:nvSpPr>
        <p:spPr/>
        <p:txBody>
          <a:bodyPr/>
          <a:lstStyle/>
          <a:p>
            <a:r>
              <a:rPr lang="en-US"/>
              <a:t>03</a:t>
            </a:r>
          </a:p>
        </p:txBody>
      </p:sp>
      <p:sp>
        <p:nvSpPr>
          <p:cNvPr id="8" name="Title 7">
            <a:extLst>
              <a:ext uri="{FF2B5EF4-FFF2-40B4-BE49-F238E27FC236}">
                <a16:creationId xmlns:a16="http://schemas.microsoft.com/office/drawing/2014/main" id="{FF0F8BD7-7609-2AC6-D79A-1B0DB4C00173}"/>
              </a:ext>
            </a:extLst>
          </p:cNvPr>
          <p:cNvSpPr>
            <a:spLocks noGrp="1"/>
          </p:cNvSpPr>
          <p:nvPr>
            <p:ph type="title"/>
          </p:nvPr>
        </p:nvSpPr>
        <p:spPr/>
        <p:txBody>
          <a:bodyPr/>
          <a:lstStyle/>
          <a:p>
            <a:r>
              <a:rPr lang="fr-FR"/>
              <a:t>Asset Management     in Digital Innovation</a:t>
            </a:r>
            <a:endParaRPr lang="en-US"/>
          </a:p>
        </p:txBody>
      </p:sp>
    </p:spTree>
    <p:extLst>
      <p:ext uri="{BB962C8B-B14F-4D97-AF65-F5344CB8AC3E}">
        <p14:creationId xmlns:p14="http://schemas.microsoft.com/office/powerpoint/2010/main" val="908116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8E88944-382E-C9EF-781F-8F2302F5FA03}"/>
              </a:ext>
            </a:extLst>
          </p:cNvPr>
          <p:cNvSpPr>
            <a:spLocks noGrp="1"/>
          </p:cNvSpPr>
          <p:nvPr>
            <p:ph sz="quarter" idx="14"/>
          </p:nvPr>
        </p:nvSpPr>
        <p:spPr>
          <a:xfrm>
            <a:off x="623888" y="1402698"/>
            <a:ext cx="10944227" cy="2743340"/>
          </a:xfrm>
        </p:spPr>
        <p:txBody>
          <a:bodyPr/>
          <a:lstStyle/>
          <a:p>
            <a:pPr marL="0" indent="0">
              <a:buNone/>
            </a:pPr>
            <a:r>
              <a:rPr lang="en-US"/>
              <a:t>Asset management will be very useful in the DI team, particularly for centralizing the management of all Smart Components in one place. </a:t>
            </a:r>
          </a:p>
          <a:p>
            <a:pPr marL="0" indent="0">
              <a:buNone/>
            </a:pPr>
            <a:r>
              <a:rPr lang="en-US"/>
              <a:t>Each person will be able to reserve a Smart Component, knowing which Bench it is located on for a specified duration, and then return it for use by other team members.</a:t>
            </a:r>
            <a:endParaRPr lang="en-US" altLang="zh-CN"/>
          </a:p>
        </p:txBody>
      </p:sp>
      <p:sp>
        <p:nvSpPr>
          <p:cNvPr id="3" name="Text Placeholder 2">
            <a:extLst>
              <a:ext uri="{FF2B5EF4-FFF2-40B4-BE49-F238E27FC236}">
                <a16:creationId xmlns:a16="http://schemas.microsoft.com/office/drawing/2014/main" id="{E2C2FF65-CF30-8057-76A7-39DA90F9EBD2}"/>
              </a:ext>
            </a:extLst>
          </p:cNvPr>
          <p:cNvSpPr>
            <a:spLocks noGrp="1"/>
          </p:cNvSpPr>
          <p:nvPr>
            <p:ph type="body" sz="quarter" idx="13"/>
          </p:nvPr>
        </p:nvSpPr>
        <p:spPr>
          <a:xfrm>
            <a:off x="623888" y="383212"/>
            <a:ext cx="10944225" cy="398144"/>
          </a:xfrm>
        </p:spPr>
        <p:txBody>
          <a:bodyPr/>
          <a:lstStyle/>
          <a:p>
            <a:endParaRPr lang="en-US" altLang="zh-CN"/>
          </a:p>
        </p:txBody>
      </p:sp>
      <p:sp>
        <p:nvSpPr>
          <p:cNvPr id="4" name="Title 3">
            <a:extLst>
              <a:ext uri="{FF2B5EF4-FFF2-40B4-BE49-F238E27FC236}">
                <a16:creationId xmlns:a16="http://schemas.microsoft.com/office/drawing/2014/main" id="{0D821D37-FBA1-C5F9-E52E-B3E13106BED8}"/>
              </a:ext>
            </a:extLst>
          </p:cNvPr>
          <p:cNvSpPr>
            <a:spLocks noGrp="1"/>
          </p:cNvSpPr>
          <p:nvPr>
            <p:ph type="title"/>
          </p:nvPr>
        </p:nvSpPr>
        <p:spPr/>
        <p:txBody>
          <a:bodyPr/>
          <a:lstStyle/>
          <a:p>
            <a:r>
              <a:rPr lang="en-US" altLang="zh-CN" sz="2800"/>
              <a:t>Asset Management in Digital Innovation</a:t>
            </a:r>
          </a:p>
        </p:txBody>
      </p:sp>
      <p:sp>
        <p:nvSpPr>
          <p:cNvPr id="5" name="Footer Placeholder 4">
            <a:extLst>
              <a:ext uri="{FF2B5EF4-FFF2-40B4-BE49-F238E27FC236}">
                <a16:creationId xmlns:a16="http://schemas.microsoft.com/office/drawing/2014/main" id="{1209BF82-0688-DB4A-CC0A-93EAB5A27EAC}"/>
              </a:ext>
            </a:extLst>
          </p:cNvPr>
          <p:cNvSpPr>
            <a:spLocks noGrp="1"/>
          </p:cNvSpPr>
          <p:nvPr>
            <p:ph type="ftr" sz="quarter" idx="15"/>
          </p:nvPr>
        </p:nvSpPr>
        <p:spPr/>
        <p:txBody>
          <a:bodyPr/>
          <a:lstStyle/>
          <a:p>
            <a:r>
              <a:rPr lang="en-US"/>
              <a:t>Asset Management 28/03/2025</a:t>
            </a:r>
          </a:p>
        </p:txBody>
      </p:sp>
      <p:sp>
        <p:nvSpPr>
          <p:cNvPr id="6" name="Slide Number Placeholder 5">
            <a:extLst>
              <a:ext uri="{FF2B5EF4-FFF2-40B4-BE49-F238E27FC236}">
                <a16:creationId xmlns:a16="http://schemas.microsoft.com/office/drawing/2014/main" id="{632B678A-37AC-B4B3-AE63-0CAEBC6D2686}"/>
              </a:ext>
            </a:extLst>
          </p:cNvPr>
          <p:cNvSpPr>
            <a:spLocks noGrp="1"/>
          </p:cNvSpPr>
          <p:nvPr>
            <p:ph type="sldNum" sz="quarter" idx="16"/>
          </p:nvPr>
        </p:nvSpPr>
        <p:spPr/>
        <p:txBody>
          <a:bodyPr/>
          <a:lstStyle/>
          <a:p>
            <a:fld id="{FD5E7EB4-4CDF-47BB-AF16-07782904B863}" type="slidenum">
              <a:rPr lang="en-US" smtClean="0"/>
              <a:pPr/>
              <a:t>12</a:t>
            </a:fld>
            <a:endParaRPr lang="en-US"/>
          </a:p>
        </p:txBody>
      </p:sp>
      <p:sp>
        <p:nvSpPr>
          <p:cNvPr id="7" name="Rectangle: Rounded Corners 6">
            <a:extLst>
              <a:ext uri="{FF2B5EF4-FFF2-40B4-BE49-F238E27FC236}">
                <a16:creationId xmlns:a16="http://schemas.microsoft.com/office/drawing/2014/main" id="{B4259E3F-45A5-4A91-1C04-756FFD232008}"/>
              </a:ext>
            </a:extLst>
          </p:cNvPr>
          <p:cNvSpPr/>
          <p:nvPr/>
        </p:nvSpPr>
        <p:spPr bwMode="gray">
          <a:xfrm>
            <a:off x="10612149" y="440224"/>
            <a:ext cx="955964" cy="507077"/>
          </a:xfrm>
          <a:prstGeom prst="roundRect">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r>
              <a:rPr lang="fr-FR" altLang="zh-CN" sz="1600" kern="0">
                <a:solidFill>
                  <a:srgbClr val="FFFFFF"/>
                </a:solidFill>
                <a:latin typeface="Verdana"/>
              </a:rPr>
              <a:t>Julien</a:t>
            </a:r>
            <a:endParaRPr lang="zh-CN" altLang="fr-FR" sz="1600" kern="0">
              <a:solidFill>
                <a:srgbClr val="FFFFFF"/>
              </a:solidFill>
              <a:latin typeface="Verdana"/>
            </a:endParaRPr>
          </a:p>
        </p:txBody>
      </p:sp>
      <p:sp>
        <p:nvSpPr>
          <p:cNvPr id="8" name="Oval 7">
            <a:extLst>
              <a:ext uri="{FF2B5EF4-FFF2-40B4-BE49-F238E27FC236}">
                <a16:creationId xmlns:a16="http://schemas.microsoft.com/office/drawing/2014/main" id="{352B0B71-DC66-F807-4AA4-44435AF6144B}"/>
              </a:ext>
            </a:extLst>
          </p:cNvPr>
          <p:cNvSpPr/>
          <p:nvPr/>
        </p:nvSpPr>
        <p:spPr bwMode="gray">
          <a:xfrm>
            <a:off x="4369907" y="3016317"/>
            <a:ext cx="2273969" cy="1256555"/>
          </a:xfrm>
          <a:prstGeom prst="ellipse">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a:solidFill>
                <a:srgbClr val="FFFFFF"/>
              </a:solidFill>
              <a:latin typeface="Verdana"/>
            </a:endParaRPr>
          </a:p>
        </p:txBody>
      </p:sp>
      <p:pic>
        <p:nvPicPr>
          <p:cNvPr id="9" name="Picture 8" descr="A white box with a black and white box&#10;&#10;Description automatically generated">
            <a:extLst>
              <a:ext uri="{FF2B5EF4-FFF2-40B4-BE49-F238E27FC236}">
                <a16:creationId xmlns:a16="http://schemas.microsoft.com/office/drawing/2014/main" id="{020E4B00-EF30-B70D-7E2A-A465CE57C39C}"/>
              </a:ext>
            </a:extLst>
          </p:cNvPr>
          <p:cNvPicPr>
            <a:picLocks noChangeAspect="1"/>
          </p:cNvPicPr>
          <p:nvPr/>
        </p:nvPicPr>
        <p:blipFill>
          <a:blip r:embed="rId3"/>
          <a:stretch>
            <a:fillRect/>
          </a:stretch>
        </p:blipFill>
        <p:spPr>
          <a:xfrm>
            <a:off x="4797998" y="4904480"/>
            <a:ext cx="538293" cy="403720"/>
          </a:xfrm>
          <a:prstGeom prst="rect">
            <a:avLst/>
          </a:prstGeom>
        </p:spPr>
      </p:pic>
      <p:pic>
        <p:nvPicPr>
          <p:cNvPr id="10" name="Picture 9" descr="A white box with a black and white box&#10;&#10;Description automatically generated">
            <a:extLst>
              <a:ext uri="{FF2B5EF4-FFF2-40B4-BE49-F238E27FC236}">
                <a16:creationId xmlns:a16="http://schemas.microsoft.com/office/drawing/2014/main" id="{9064699C-B4C7-41F0-76C6-4EAF02799B2B}"/>
              </a:ext>
            </a:extLst>
          </p:cNvPr>
          <p:cNvPicPr>
            <a:picLocks noChangeAspect="1"/>
          </p:cNvPicPr>
          <p:nvPr/>
        </p:nvPicPr>
        <p:blipFill>
          <a:blip r:embed="rId3"/>
          <a:stretch>
            <a:fillRect/>
          </a:stretch>
        </p:blipFill>
        <p:spPr>
          <a:xfrm>
            <a:off x="3127568" y="3894374"/>
            <a:ext cx="538293" cy="403720"/>
          </a:xfrm>
          <a:prstGeom prst="rect">
            <a:avLst/>
          </a:prstGeom>
        </p:spPr>
      </p:pic>
      <p:pic>
        <p:nvPicPr>
          <p:cNvPr id="11" name="Picture 10" descr="A white box with a black and white box&#10;&#10;Description automatically generated">
            <a:extLst>
              <a:ext uri="{FF2B5EF4-FFF2-40B4-BE49-F238E27FC236}">
                <a16:creationId xmlns:a16="http://schemas.microsoft.com/office/drawing/2014/main" id="{089EBB59-6BBB-220E-B0D3-8D498C41B891}"/>
              </a:ext>
            </a:extLst>
          </p:cNvPr>
          <p:cNvPicPr>
            <a:picLocks noChangeAspect="1"/>
          </p:cNvPicPr>
          <p:nvPr/>
        </p:nvPicPr>
        <p:blipFill>
          <a:blip r:embed="rId3"/>
          <a:stretch>
            <a:fillRect/>
          </a:stretch>
        </p:blipFill>
        <p:spPr>
          <a:xfrm>
            <a:off x="3831614" y="4674359"/>
            <a:ext cx="538293" cy="403720"/>
          </a:xfrm>
          <a:prstGeom prst="rect">
            <a:avLst/>
          </a:prstGeom>
        </p:spPr>
      </p:pic>
      <p:pic>
        <p:nvPicPr>
          <p:cNvPr id="12" name="Picture 11" descr="A white box with a black square&#10;&#10;Description automatically generated">
            <a:extLst>
              <a:ext uri="{FF2B5EF4-FFF2-40B4-BE49-F238E27FC236}">
                <a16:creationId xmlns:a16="http://schemas.microsoft.com/office/drawing/2014/main" id="{9F583783-2409-CA21-2A6D-086E27FEA409}"/>
              </a:ext>
            </a:extLst>
          </p:cNvPr>
          <p:cNvPicPr>
            <a:picLocks noChangeAspect="1"/>
          </p:cNvPicPr>
          <p:nvPr/>
        </p:nvPicPr>
        <p:blipFill>
          <a:blip r:embed="rId4"/>
          <a:stretch>
            <a:fillRect/>
          </a:stretch>
        </p:blipFill>
        <p:spPr>
          <a:xfrm>
            <a:off x="6116797" y="4777821"/>
            <a:ext cx="623370" cy="467528"/>
          </a:xfrm>
          <a:prstGeom prst="rect">
            <a:avLst/>
          </a:prstGeom>
        </p:spPr>
      </p:pic>
      <p:cxnSp>
        <p:nvCxnSpPr>
          <p:cNvPr id="14" name="Straight Arrow Connector 13">
            <a:extLst>
              <a:ext uri="{FF2B5EF4-FFF2-40B4-BE49-F238E27FC236}">
                <a16:creationId xmlns:a16="http://schemas.microsoft.com/office/drawing/2014/main" id="{38F397E6-69C9-C987-01F2-AB0CD1218894}"/>
              </a:ext>
            </a:extLst>
          </p:cNvPr>
          <p:cNvCxnSpPr>
            <a:cxnSpLocks/>
          </p:cNvCxnSpPr>
          <p:nvPr/>
        </p:nvCxnSpPr>
        <p:spPr>
          <a:xfrm flipV="1">
            <a:off x="3665861" y="3789426"/>
            <a:ext cx="704046" cy="16799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E3A4EF12-4002-950D-8063-572F3262587B}"/>
              </a:ext>
            </a:extLst>
          </p:cNvPr>
          <p:cNvCxnSpPr>
            <a:cxnSpLocks/>
          </p:cNvCxnSpPr>
          <p:nvPr/>
        </p:nvCxnSpPr>
        <p:spPr>
          <a:xfrm flipV="1">
            <a:off x="4326146" y="4135372"/>
            <a:ext cx="349860" cy="538987"/>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F9B209E0-079E-7B49-864D-1B9123F53C7B}"/>
              </a:ext>
            </a:extLst>
          </p:cNvPr>
          <p:cNvCxnSpPr>
            <a:cxnSpLocks/>
            <a:stCxn id="9" idx="0"/>
          </p:cNvCxnSpPr>
          <p:nvPr/>
        </p:nvCxnSpPr>
        <p:spPr>
          <a:xfrm flipV="1">
            <a:off x="5067145" y="4300344"/>
            <a:ext cx="136291" cy="604136"/>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8640DCB3-AC09-D636-7465-7A0B65740E94}"/>
              </a:ext>
            </a:extLst>
          </p:cNvPr>
          <p:cNvCxnSpPr>
            <a:cxnSpLocks/>
          </p:cNvCxnSpPr>
          <p:nvPr/>
        </p:nvCxnSpPr>
        <p:spPr>
          <a:xfrm flipH="1" flipV="1">
            <a:off x="6116797" y="4173513"/>
            <a:ext cx="193766" cy="663182"/>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2CF39A11-ED1D-56FC-8351-00ECE97DA6C9}"/>
              </a:ext>
            </a:extLst>
          </p:cNvPr>
          <p:cNvSpPr txBox="1"/>
          <p:nvPr/>
        </p:nvSpPr>
        <p:spPr bwMode="gray">
          <a:xfrm flipH="1">
            <a:off x="7063900" y="3380978"/>
            <a:ext cx="2042095" cy="492443"/>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300"/>
              </a:spcBef>
              <a:spcAft>
                <a:spcPts val="300"/>
              </a:spcAft>
              <a:buClr>
                <a:schemeClr val="accent1"/>
              </a:buClr>
              <a:buSzTx/>
              <a:tabLst/>
            </a:pPr>
            <a:r>
              <a:rPr kumimoji="0" lang="fr-FR" sz="16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ummarize all the SC in one API</a:t>
            </a:r>
          </a:p>
        </p:txBody>
      </p:sp>
      <p:sp>
        <p:nvSpPr>
          <p:cNvPr id="36" name="Rectangle: Rounded Corners 35">
            <a:extLst>
              <a:ext uri="{FF2B5EF4-FFF2-40B4-BE49-F238E27FC236}">
                <a16:creationId xmlns:a16="http://schemas.microsoft.com/office/drawing/2014/main" id="{D2D33DCC-4234-084E-2631-D6D5082359ED}"/>
              </a:ext>
            </a:extLst>
          </p:cNvPr>
          <p:cNvSpPr/>
          <p:nvPr/>
        </p:nvSpPr>
        <p:spPr bwMode="gray">
          <a:xfrm>
            <a:off x="3045598" y="4368980"/>
            <a:ext cx="702232" cy="298031"/>
          </a:xfrm>
          <a:prstGeom prst="roundRect">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r>
              <a:rPr lang="en-US" sz="1600" kern="0">
                <a:solidFill>
                  <a:srgbClr val="FFFFFF"/>
                </a:solidFill>
                <a:latin typeface="Verdana"/>
              </a:rPr>
              <a:t>SC1</a:t>
            </a:r>
            <a:endParaRPr lang="fr-FR" sz="1600" kern="0" err="1">
              <a:solidFill>
                <a:srgbClr val="FFFFFF"/>
              </a:solidFill>
              <a:latin typeface="Verdana"/>
            </a:endParaRPr>
          </a:p>
        </p:txBody>
      </p:sp>
      <p:sp>
        <p:nvSpPr>
          <p:cNvPr id="37" name="Rectangle: Rounded Corners 36">
            <a:extLst>
              <a:ext uri="{FF2B5EF4-FFF2-40B4-BE49-F238E27FC236}">
                <a16:creationId xmlns:a16="http://schemas.microsoft.com/office/drawing/2014/main" id="{2CED452D-B0E4-1879-D35E-98A1A1D7520A}"/>
              </a:ext>
            </a:extLst>
          </p:cNvPr>
          <p:cNvSpPr/>
          <p:nvPr/>
        </p:nvSpPr>
        <p:spPr bwMode="gray">
          <a:xfrm>
            <a:off x="3755888" y="5161163"/>
            <a:ext cx="702232" cy="298031"/>
          </a:xfrm>
          <a:prstGeom prst="roundRect">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r>
              <a:rPr lang="en-US" sz="1600" kern="0">
                <a:solidFill>
                  <a:srgbClr val="FFFFFF"/>
                </a:solidFill>
                <a:latin typeface="Verdana"/>
              </a:rPr>
              <a:t>SC2</a:t>
            </a:r>
            <a:endParaRPr lang="fr-FR" sz="1600" kern="0" err="1">
              <a:solidFill>
                <a:srgbClr val="FFFFFF"/>
              </a:solidFill>
              <a:latin typeface="Verdana"/>
            </a:endParaRPr>
          </a:p>
        </p:txBody>
      </p:sp>
      <p:sp>
        <p:nvSpPr>
          <p:cNvPr id="38" name="Rectangle: Rounded Corners 37">
            <a:extLst>
              <a:ext uri="{FF2B5EF4-FFF2-40B4-BE49-F238E27FC236}">
                <a16:creationId xmlns:a16="http://schemas.microsoft.com/office/drawing/2014/main" id="{C8512DAE-6E1D-3F9F-7186-AB64ACE211E8}"/>
              </a:ext>
            </a:extLst>
          </p:cNvPr>
          <p:cNvSpPr/>
          <p:nvPr/>
        </p:nvSpPr>
        <p:spPr bwMode="gray">
          <a:xfrm>
            <a:off x="4870355" y="5350017"/>
            <a:ext cx="702232" cy="298031"/>
          </a:xfrm>
          <a:prstGeom prst="roundRect">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r>
              <a:rPr lang="en-US" sz="1600" kern="0">
                <a:solidFill>
                  <a:srgbClr val="FFFFFF"/>
                </a:solidFill>
                <a:latin typeface="Verdana"/>
              </a:rPr>
              <a:t>SC3</a:t>
            </a:r>
            <a:endParaRPr lang="fr-FR" sz="1600" kern="0" err="1">
              <a:solidFill>
                <a:srgbClr val="FFFFFF"/>
              </a:solidFill>
              <a:latin typeface="Verdana"/>
            </a:endParaRPr>
          </a:p>
        </p:txBody>
      </p:sp>
      <p:sp>
        <p:nvSpPr>
          <p:cNvPr id="40" name="Rectangle: Rounded Corners 39">
            <a:extLst>
              <a:ext uri="{FF2B5EF4-FFF2-40B4-BE49-F238E27FC236}">
                <a16:creationId xmlns:a16="http://schemas.microsoft.com/office/drawing/2014/main" id="{7D48AD64-A67F-A691-97CA-BC5A7059F7F9}"/>
              </a:ext>
            </a:extLst>
          </p:cNvPr>
          <p:cNvSpPr/>
          <p:nvPr/>
        </p:nvSpPr>
        <p:spPr bwMode="gray">
          <a:xfrm>
            <a:off x="6077366" y="5304428"/>
            <a:ext cx="702232" cy="298031"/>
          </a:xfrm>
          <a:prstGeom prst="roundRect">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r>
              <a:rPr lang="en-US" sz="1600" kern="0">
                <a:solidFill>
                  <a:srgbClr val="FFFFFF"/>
                </a:solidFill>
                <a:latin typeface="Verdana"/>
              </a:rPr>
              <a:t>SC4</a:t>
            </a:r>
            <a:endParaRPr lang="fr-FR" sz="1600" kern="0" err="1">
              <a:solidFill>
                <a:srgbClr val="FFFFFF"/>
              </a:solidFill>
              <a:latin typeface="Verdana"/>
            </a:endParaRPr>
          </a:p>
        </p:txBody>
      </p:sp>
      <p:pic>
        <p:nvPicPr>
          <p:cNvPr id="1026" name="Picture 2" descr="GitHub - grokability/kandji2snipe">
            <a:extLst>
              <a:ext uri="{FF2B5EF4-FFF2-40B4-BE49-F238E27FC236}">
                <a16:creationId xmlns:a16="http://schemas.microsoft.com/office/drawing/2014/main" id="{2915AA81-BBE4-B8D0-75FA-8B89BCECD57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60141" y="3140354"/>
            <a:ext cx="888841" cy="8888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32504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3067760D-F397-F6CE-3D2C-D6C47E4A92CB}"/>
              </a:ext>
            </a:extLst>
          </p:cNvPr>
          <p:cNvSpPr>
            <a:spLocks noGrp="1"/>
          </p:cNvSpPr>
          <p:nvPr>
            <p:ph type="body" sz="quarter" idx="13"/>
          </p:nvPr>
        </p:nvSpPr>
        <p:spPr/>
        <p:txBody>
          <a:bodyPr/>
          <a:lstStyle/>
          <a:p>
            <a:r>
              <a:rPr lang="en-US"/>
              <a:t>04</a:t>
            </a:r>
          </a:p>
        </p:txBody>
      </p:sp>
      <p:sp>
        <p:nvSpPr>
          <p:cNvPr id="8" name="Title 7">
            <a:extLst>
              <a:ext uri="{FF2B5EF4-FFF2-40B4-BE49-F238E27FC236}">
                <a16:creationId xmlns:a16="http://schemas.microsoft.com/office/drawing/2014/main" id="{FF0F8BD7-7609-2AC6-D79A-1B0DB4C00173}"/>
              </a:ext>
            </a:extLst>
          </p:cNvPr>
          <p:cNvSpPr>
            <a:spLocks noGrp="1"/>
          </p:cNvSpPr>
          <p:nvPr>
            <p:ph type="title"/>
          </p:nvPr>
        </p:nvSpPr>
        <p:spPr/>
        <p:txBody>
          <a:bodyPr/>
          <a:lstStyle/>
          <a:p>
            <a:r>
              <a:rPr lang="fr-FR" err="1"/>
              <a:t>Mid-internship</a:t>
            </a:r>
            <a:r>
              <a:rPr lang="fr-FR"/>
              <a:t> </a:t>
            </a:r>
            <a:r>
              <a:rPr lang="en-US"/>
              <a:t>demonstration of my project </a:t>
            </a:r>
          </a:p>
        </p:txBody>
      </p:sp>
    </p:spTree>
    <p:extLst>
      <p:ext uri="{BB962C8B-B14F-4D97-AF65-F5344CB8AC3E}">
        <p14:creationId xmlns:p14="http://schemas.microsoft.com/office/powerpoint/2010/main" val="5791111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FB0E71B1-8B70-D7B4-3709-9A12B71EDBEB}"/>
              </a:ext>
            </a:extLst>
          </p:cNvPr>
          <p:cNvPicPr>
            <a:picLocks noGrp="1" noChangeAspect="1"/>
          </p:cNvPicPr>
          <p:nvPr>
            <p:ph sz="quarter" idx="14"/>
          </p:nvPr>
        </p:nvPicPr>
        <p:blipFill>
          <a:blip r:embed="rId2"/>
          <a:stretch>
            <a:fillRect/>
          </a:stretch>
        </p:blipFill>
        <p:spPr>
          <a:xfrm>
            <a:off x="4834826" y="1888875"/>
            <a:ext cx="5733783" cy="3080250"/>
          </a:xfrm>
        </p:spPr>
      </p:pic>
      <p:sp>
        <p:nvSpPr>
          <p:cNvPr id="3" name="Text Placeholder 2">
            <a:extLst>
              <a:ext uri="{FF2B5EF4-FFF2-40B4-BE49-F238E27FC236}">
                <a16:creationId xmlns:a16="http://schemas.microsoft.com/office/drawing/2014/main" id="{7F8204B1-FCC0-E8EC-0B62-590C20DE9846}"/>
              </a:ext>
            </a:extLst>
          </p:cNvPr>
          <p:cNvSpPr>
            <a:spLocks noGrp="1"/>
          </p:cNvSpPr>
          <p:nvPr>
            <p:ph type="body" sz="quarter" idx="13"/>
          </p:nvPr>
        </p:nvSpPr>
        <p:spPr/>
        <p:txBody>
          <a:bodyPr/>
          <a:lstStyle/>
          <a:p>
            <a:r>
              <a:rPr lang="fr-FR"/>
              <a:t>POC environnement</a:t>
            </a:r>
          </a:p>
        </p:txBody>
      </p:sp>
      <p:sp>
        <p:nvSpPr>
          <p:cNvPr id="4" name="Title 3">
            <a:extLst>
              <a:ext uri="{FF2B5EF4-FFF2-40B4-BE49-F238E27FC236}">
                <a16:creationId xmlns:a16="http://schemas.microsoft.com/office/drawing/2014/main" id="{2F496249-D94A-3DE5-D8D4-4DC216C5B6ED}"/>
              </a:ext>
            </a:extLst>
          </p:cNvPr>
          <p:cNvSpPr>
            <a:spLocks noGrp="1"/>
          </p:cNvSpPr>
          <p:nvPr>
            <p:ph type="title"/>
          </p:nvPr>
        </p:nvSpPr>
        <p:spPr/>
        <p:txBody>
          <a:bodyPr/>
          <a:lstStyle/>
          <a:p>
            <a:r>
              <a:rPr lang="en-US"/>
              <a:t>Diagram of the Twin Bench</a:t>
            </a:r>
            <a:endParaRPr lang="fr-FR"/>
          </a:p>
        </p:txBody>
      </p:sp>
      <p:pic>
        <p:nvPicPr>
          <p:cNvPr id="5" name="Picture 4">
            <a:extLst>
              <a:ext uri="{FF2B5EF4-FFF2-40B4-BE49-F238E27FC236}">
                <a16:creationId xmlns:a16="http://schemas.microsoft.com/office/drawing/2014/main" id="{B41EE790-A721-DEC1-8772-07C860FF1D7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490192" y="1858203"/>
            <a:ext cx="4188792" cy="3141594"/>
          </a:xfrm>
          <a:prstGeom prst="rect">
            <a:avLst/>
          </a:prstGeom>
        </p:spPr>
      </p:pic>
      <p:cxnSp>
        <p:nvCxnSpPr>
          <p:cNvPr id="8" name="Straight Arrow Connector 7">
            <a:extLst>
              <a:ext uri="{FF2B5EF4-FFF2-40B4-BE49-F238E27FC236}">
                <a16:creationId xmlns:a16="http://schemas.microsoft.com/office/drawing/2014/main" id="{A0E2C7CC-26A2-1607-1D51-8BEF21BCB89A}"/>
              </a:ext>
            </a:extLst>
          </p:cNvPr>
          <p:cNvCxnSpPr>
            <a:cxnSpLocks/>
            <a:stCxn id="5" idx="0"/>
            <a:endCxn id="6" idx="1"/>
          </p:cNvCxnSpPr>
          <p:nvPr/>
        </p:nvCxnSpPr>
        <p:spPr>
          <a:xfrm>
            <a:off x="4155385" y="3429000"/>
            <a:ext cx="679441" cy="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19896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1778FF3-693E-51A9-2D9F-1F47B7A22525}"/>
              </a:ext>
            </a:extLst>
          </p:cNvPr>
          <p:cNvSpPr>
            <a:spLocks noGrp="1"/>
          </p:cNvSpPr>
          <p:nvPr>
            <p:ph type="body" sz="quarter" idx="13"/>
          </p:nvPr>
        </p:nvSpPr>
        <p:spPr/>
        <p:txBody>
          <a:bodyPr/>
          <a:lstStyle/>
          <a:p>
            <a:r>
              <a:rPr lang="fr-FR"/>
              <a:t>POC environnement</a:t>
            </a:r>
            <a:endParaRPr lang="en-US"/>
          </a:p>
        </p:txBody>
      </p:sp>
      <p:sp>
        <p:nvSpPr>
          <p:cNvPr id="4" name="Title 3">
            <a:extLst>
              <a:ext uri="{FF2B5EF4-FFF2-40B4-BE49-F238E27FC236}">
                <a16:creationId xmlns:a16="http://schemas.microsoft.com/office/drawing/2014/main" id="{1D299F93-F177-8703-7C5A-667E30618BA7}"/>
              </a:ext>
            </a:extLst>
          </p:cNvPr>
          <p:cNvSpPr>
            <a:spLocks noGrp="1"/>
          </p:cNvSpPr>
          <p:nvPr>
            <p:ph type="title"/>
          </p:nvPr>
        </p:nvSpPr>
        <p:spPr/>
        <p:txBody>
          <a:bodyPr/>
          <a:lstStyle/>
          <a:p>
            <a:r>
              <a:rPr lang="en-US"/>
              <a:t>Diagram of the Twin Bench with my EC2</a:t>
            </a:r>
          </a:p>
        </p:txBody>
      </p:sp>
      <p:sp>
        <p:nvSpPr>
          <p:cNvPr id="3" name="TextBox 2">
            <a:extLst>
              <a:ext uri="{FF2B5EF4-FFF2-40B4-BE49-F238E27FC236}">
                <a16:creationId xmlns:a16="http://schemas.microsoft.com/office/drawing/2014/main" id="{186264E6-D0E8-8E4B-C597-F47C9BC9E77F}"/>
              </a:ext>
            </a:extLst>
          </p:cNvPr>
          <p:cNvSpPr txBox="1"/>
          <p:nvPr/>
        </p:nvSpPr>
        <p:spPr bwMode="gray">
          <a:xfrm>
            <a:off x="2987892" y="4445728"/>
            <a:ext cx="6216216" cy="923330"/>
          </a:xfrm>
          <a:prstGeom prst="rect">
            <a:avLst/>
          </a:prstGeom>
          <a:noFill/>
        </p:spPr>
        <p:txBody>
          <a:bodyPr wrap="square">
            <a:spAutoFit/>
          </a:bodyPr>
          <a:lstStyle/>
          <a:p>
            <a:r>
              <a:rPr lang="fr-FR" b="0">
                <a:solidFill>
                  <a:srgbClr val="ABB2BF"/>
                </a:solidFill>
                <a:effectLst/>
                <a:latin typeface="Consolas" panose="020B0609020204030204" pitchFamily="49" charset="0"/>
              </a:rPr>
              <a:t>nmap -n -p 4840 --open </a:t>
            </a:r>
            <a:r>
              <a:rPr lang="fr-FR" b="0">
                <a:solidFill>
                  <a:srgbClr val="98C379"/>
                </a:solidFill>
                <a:effectLst/>
                <a:latin typeface="Consolas" panose="020B0609020204030204" pitchFamily="49" charset="0"/>
              </a:rPr>
              <a:t>$(</a:t>
            </a:r>
            <a:r>
              <a:rPr lang="fr-FR" b="0">
                <a:solidFill>
                  <a:srgbClr val="E06C75"/>
                </a:solidFill>
                <a:effectLst/>
                <a:latin typeface="Consolas" panose="020B0609020204030204" pitchFamily="49" charset="0"/>
              </a:rPr>
              <a:t>IP_ADDR</a:t>
            </a:r>
            <a:r>
              <a:rPr lang="fr-FR" b="0">
                <a:solidFill>
                  <a:srgbClr val="98C379"/>
                </a:solidFill>
                <a:effectLst/>
                <a:latin typeface="Consolas" panose="020B0609020204030204" pitchFamily="49" charset="0"/>
              </a:rPr>
              <a:t>)</a:t>
            </a:r>
            <a:r>
              <a:rPr lang="fr-FR" b="0">
                <a:solidFill>
                  <a:srgbClr val="ABB2BF"/>
                </a:solidFill>
                <a:effectLst/>
                <a:latin typeface="Consolas" panose="020B0609020204030204" pitchFamily="49" charset="0"/>
              </a:rPr>
              <a:t>/24 -oG - |</a:t>
            </a:r>
          </a:p>
          <a:p>
            <a:r>
              <a:rPr lang="fr-FR" b="0">
                <a:solidFill>
                  <a:srgbClr val="ABB2BF"/>
                </a:solidFill>
                <a:effectLst/>
                <a:latin typeface="Consolas" panose="020B0609020204030204" pitchFamily="49" charset="0"/>
              </a:rPr>
              <a:t>awk '/4840\/open/{print </a:t>
            </a:r>
            <a:r>
              <a:rPr lang="fr-FR" b="0">
                <a:solidFill>
                  <a:srgbClr val="E06C75"/>
                </a:solidFill>
                <a:effectLst/>
                <a:latin typeface="Consolas" panose="020B0609020204030204" pitchFamily="49" charset="0"/>
              </a:rPr>
              <a:t>$$</a:t>
            </a:r>
            <a:r>
              <a:rPr lang="fr-FR" b="0">
                <a:solidFill>
                  <a:srgbClr val="ABB2BF"/>
                </a:solidFill>
                <a:effectLst/>
                <a:latin typeface="Consolas" panose="020B0609020204030204" pitchFamily="49" charset="0"/>
              </a:rPr>
              <a:t>2}’ |</a:t>
            </a:r>
          </a:p>
          <a:p>
            <a:r>
              <a:rPr lang="fr-FR" b="0">
                <a:solidFill>
                  <a:srgbClr val="ABB2BF"/>
                </a:solidFill>
                <a:effectLst/>
                <a:latin typeface="Consolas" panose="020B0609020204030204" pitchFamily="49" charset="0"/>
              </a:rPr>
              <a:t>python3 demo.py --list --location "Twin-Bench"</a:t>
            </a:r>
          </a:p>
        </p:txBody>
      </p:sp>
      <p:pic>
        <p:nvPicPr>
          <p:cNvPr id="7" name="Picture 6">
            <a:extLst>
              <a:ext uri="{FF2B5EF4-FFF2-40B4-BE49-F238E27FC236}">
                <a16:creationId xmlns:a16="http://schemas.microsoft.com/office/drawing/2014/main" id="{C59FB97E-31A7-7F47-1E0A-335A468473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49692" y="1362759"/>
            <a:ext cx="7892616" cy="2883199"/>
          </a:xfrm>
          <a:prstGeom prst="rect">
            <a:avLst/>
          </a:prstGeom>
        </p:spPr>
      </p:pic>
    </p:spTree>
    <p:extLst>
      <p:ext uri="{BB962C8B-B14F-4D97-AF65-F5344CB8AC3E}">
        <p14:creationId xmlns:p14="http://schemas.microsoft.com/office/powerpoint/2010/main" val="3118440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1778FF3-693E-51A9-2D9F-1F47B7A22525}"/>
              </a:ext>
            </a:extLst>
          </p:cNvPr>
          <p:cNvSpPr>
            <a:spLocks noGrp="1"/>
          </p:cNvSpPr>
          <p:nvPr>
            <p:ph type="body" sz="quarter" idx="13"/>
          </p:nvPr>
        </p:nvSpPr>
        <p:spPr/>
        <p:txBody>
          <a:bodyPr/>
          <a:lstStyle/>
          <a:p>
            <a:r>
              <a:rPr lang="fr-FR"/>
              <a:t>POC environnement</a:t>
            </a:r>
            <a:endParaRPr lang="en-US"/>
          </a:p>
        </p:txBody>
      </p:sp>
      <p:sp>
        <p:nvSpPr>
          <p:cNvPr id="4" name="Title 3">
            <a:extLst>
              <a:ext uri="{FF2B5EF4-FFF2-40B4-BE49-F238E27FC236}">
                <a16:creationId xmlns:a16="http://schemas.microsoft.com/office/drawing/2014/main" id="{1D299F93-F177-8703-7C5A-667E30618BA7}"/>
              </a:ext>
            </a:extLst>
          </p:cNvPr>
          <p:cNvSpPr>
            <a:spLocks noGrp="1"/>
          </p:cNvSpPr>
          <p:nvPr>
            <p:ph type="title"/>
          </p:nvPr>
        </p:nvSpPr>
        <p:spPr/>
        <p:txBody>
          <a:bodyPr/>
          <a:lstStyle/>
          <a:p>
            <a:r>
              <a:rPr lang="en-US"/>
              <a:t>Smart Component found </a:t>
            </a:r>
            <a:r>
              <a:rPr lang="en-US">
                <a:sym typeface="Wingdings" panose="05000000000000000000" pitchFamily="2" charset="2"/>
              </a:rPr>
              <a:t> Creating Asset</a:t>
            </a:r>
            <a:endParaRPr lang="en-US"/>
          </a:p>
        </p:txBody>
      </p:sp>
      <p:pic>
        <p:nvPicPr>
          <p:cNvPr id="22" name="Picture 21">
            <a:extLst>
              <a:ext uri="{FF2B5EF4-FFF2-40B4-BE49-F238E27FC236}">
                <a16:creationId xmlns:a16="http://schemas.microsoft.com/office/drawing/2014/main" id="{7F501E35-15D2-F641-9087-577702A54F8A}"/>
              </a:ext>
            </a:extLst>
          </p:cNvPr>
          <p:cNvPicPr>
            <a:picLocks noChangeAspect="1"/>
          </p:cNvPicPr>
          <p:nvPr/>
        </p:nvPicPr>
        <p:blipFill>
          <a:blip r:embed="rId2"/>
          <a:stretch>
            <a:fillRect/>
          </a:stretch>
        </p:blipFill>
        <p:spPr>
          <a:xfrm>
            <a:off x="514109" y="1688580"/>
            <a:ext cx="11163782" cy="1489346"/>
          </a:xfrm>
          <a:prstGeom prst="rect">
            <a:avLst/>
          </a:prstGeom>
        </p:spPr>
      </p:pic>
      <p:sp>
        <p:nvSpPr>
          <p:cNvPr id="25" name="Content Placeholder 1">
            <a:extLst>
              <a:ext uri="{FF2B5EF4-FFF2-40B4-BE49-F238E27FC236}">
                <a16:creationId xmlns:a16="http://schemas.microsoft.com/office/drawing/2014/main" id="{4CD71C37-8684-CB80-7C49-052331BD9CA5}"/>
              </a:ext>
            </a:extLst>
          </p:cNvPr>
          <p:cNvSpPr>
            <a:spLocks noGrp="1"/>
          </p:cNvSpPr>
          <p:nvPr>
            <p:ph sz="quarter" idx="14"/>
          </p:nvPr>
        </p:nvSpPr>
        <p:spPr>
          <a:xfrm>
            <a:off x="5340177" y="1416314"/>
            <a:ext cx="1511641" cy="398144"/>
          </a:xfrm>
        </p:spPr>
        <p:txBody>
          <a:bodyPr/>
          <a:lstStyle/>
          <a:p>
            <a:pPr marL="0" indent="0">
              <a:buNone/>
            </a:pPr>
            <a:r>
              <a:rPr lang="en-US" altLang="zh-CN"/>
              <a:t>Asset Models</a:t>
            </a:r>
          </a:p>
        </p:txBody>
      </p:sp>
      <p:sp>
        <p:nvSpPr>
          <p:cNvPr id="27" name="Content Placeholder 1">
            <a:extLst>
              <a:ext uri="{FF2B5EF4-FFF2-40B4-BE49-F238E27FC236}">
                <a16:creationId xmlns:a16="http://schemas.microsoft.com/office/drawing/2014/main" id="{A3DF95B0-EE9F-5134-4853-F39220E24D4A}"/>
              </a:ext>
            </a:extLst>
          </p:cNvPr>
          <p:cNvSpPr txBox="1">
            <a:spLocks/>
          </p:cNvSpPr>
          <p:nvPr/>
        </p:nvSpPr>
        <p:spPr bwMode="gray">
          <a:xfrm>
            <a:off x="5340178" y="3324315"/>
            <a:ext cx="1511641" cy="398144"/>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chemeClr val="accent1"/>
              </a:buClr>
              <a:buFont typeface="Wingdings" panose="05000000000000000000" pitchFamily="2" charset="2"/>
              <a:buChar char=""/>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chemeClr val="accent1"/>
              </a:buClr>
              <a:buFont typeface="Symbol" panose="05050102010706020507" pitchFamily="18" charset="2"/>
              <a:buChar char="-"/>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de-DE"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r>
              <a:rPr lang="fr-FR" altLang="zh-CN"/>
              <a:t>Manufacturer</a:t>
            </a:r>
          </a:p>
        </p:txBody>
      </p:sp>
      <p:pic>
        <p:nvPicPr>
          <p:cNvPr id="29" name="Picture 28">
            <a:extLst>
              <a:ext uri="{FF2B5EF4-FFF2-40B4-BE49-F238E27FC236}">
                <a16:creationId xmlns:a16="http://schemas.microsoft.com/office/drawing/2014/main" id="{C81DBEE8-CBEE-3D7D-7885-E7E7DCCA0DF3}"/>
              </a:ext>
            </a:extLst>
          </p:cNvPr>
          <p:cNvPicPr>
            <a:picLocks noChangeAspect="1"/>
          </p:cNvPicPr>
          <p:nvPr/>
        </p:nvPicPr>
        <p:blipFill>
          <a:blip r:embed="rId3"/>
          <a:stretch>
            <a:fillRect/>
          </a:stretch>
        </p:blipFill>
        <p:spPr>
          <a:xfrm>
            <a:off x="2342624" y="3868848"/>
            <a:ext cx="7506748" cy="724001"/>
          </a:xfrm>
          <a:prstGeom prst="rect">
            <a:avLst/>
          </a:prstGeom>
        </p:spPr>
      </p:pic>
    </p:spTree>
    <p:extLst>
      <p:ext uri="{BB962C8B-B14F-4D97-AF65-F5344CB8AC3E}">
        <p14:creationId xmlns:p14="http://schemas.microsoft.com/office/powerpoint/2010/main" val="6456335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1778FF3-693E-51A9-2D9F-1F47B7A22525}"/>
              </a:ext>
            </a:extLst>
          </p:cNvPr>
          <p:cNvSpPr>
            <a:spLocks noGrp="1"/>
          </p:cNvSpPr>
          <p:nvPr>
            <p:ph type="body" sz="quarter" idx="13"/>
          </p:nvPr>
        </p:nvSpPr>
        <p:spPr/>
        <p:txBody>
          <a:bodyPr/>
          <a:lstStyle/>
          <a:p>
            <a:r>
              <a:rPr lang="fr-FR"/>
              <a:t>POC environnement</a:t>
            </a:r>
            <a:endParaRPr lang="en-US"/>
          </a:p>
        </p:txBody>
      </p:sp>
      <p:sp>
        <p:nvSpPr>
          <p:cNvPr id="4" name="Title 3">
            <a:extLst>
              <a:ext uri="{FF2B5EF4-FFF2-40B4-BE49-F238E27FC236}">
                <a16:creationId xmlns:a16="http://schemas.microsoft.com/office/drawing/2014/main" id="{1D299F93-F177-8703-7C5A-667E30618BA7}"/>
              </a:ext>
            </a:extLst>
          </p:cNvPr>
          <p:cNvSpPr>
            <a:spLocks noGrp="1"/>
          </p:cNvSpPr>
          <p:nvPr>
            <p:ph type="title"/>
          </p:nvPr>
        </p:nvSpPr>
        <p:spPr/>
        <p:txBody>
          <a:bodyPr/>
          <a:lstStyle/>
          <a:p>
            <a:r>
              <a:rPr lang="en-US"/>
              <a:t>Smart Component found </a:t>
            </a:r>
            <a:r>
              <a:rPr lang="en-US">
                <a:sym typeface="Wingdings" panose="05000000000000000000" pitchFamily="2" charset="2"/>
              </a:rPr>
              <a:t> Asset created</a:t>
            </a:r>
            <a:endParaRPr lang="en-US"/>
          </a:p>
        </p:txBody>
      </p:sp>
      <p:pic>
        <p:nvPicPr>
          <p:cNvPr id="13" name="Picture 12">
            <a:extLst>
              <a:ext uri="{FF2B5EF4-FFF2-40B4-BE49-F238E27FC236}">
                <a16:creationId xmlns:a16="http://schemas.microsoft.com/office/drawing/2014/main" id="{67D4AABD-4362-1B85-92E3-E590ED15630D}"/>
              </a:ext>
            </a:extLst>
          </p:cNvPr>
          <p:cNvPicPr>
            <a:picLocks noChangeAspect="1"/>
          </p:cNvPicPr>
          <p:nvPr/>
        </p:nvPicPr>
        <p:blipFill>
          <a:blip r:embed="rId3"/>
          <a:stretch>
            <a:fillRect/>
          </a:stretch>
        </p:blipFill>
        <p:spPr>
          <a:xfrm>
            <a:off x="893060" y="3697444"/>
            <a:ext cx="3569687" cy="2058400"/>
          </a:xfrm>
          <a:prstGeom prst="rect">
            <a:avLst/>
          </a:prstGeom>
        </p:spPr>
      </p:pic>
      <p:pic>
        <p:nvPicPr>
          <p:cNvPr id="17" name="Picture 16">
            <a:extLst>
              <a:ext uri="{FF2B5EF4-FFF2-40B4-BE49-F238E27FC236}">
                <a16:creationId xmlns:a16="http://schemas.microsoft.com/office/drawing/2014/main" id="{26A58243-15DD-950F-D42C-3B7D127EB6B0}"/>
              </a:ext>
            </a:extLst>
          </p:cNvPr>
          <p:cNvPicPr>
            <a:picLocks noChangeAspect="1"/>
          </p:cNvPicPr>
          <p:nvPr/>
        </p:nvPicPr>
        <p:blipFill>
          <a:blip r:embed="rId4"/>
          <a:stretch>
            <a:fillRect/>
          </a:stretch>
        </p:blipFill>
        <p:spPr>
          <a:xfrm>
            <a:off x="6096000" y="2236025"/>
            <a:ext cx="3569688" cy="3667756"/>
          </a:xfrm>
          <a:prstGeom prst="rect">
            <a:avLst/>
          </a:prstGeom>
        </p:spPr>
      </p:pic>
      <p:sp>
        <p:nvSpPr>
          <p:cNvPr id="20" name="TextBox 19">
            <a:extLst>
              <a:ext uri="{FF2B5EF4-FFF2-40B4-BE49-F238E27FC236}">
                <a16:creationId xmlns:a16="http://schemas.microsoft.com/office/drawing/2014/main" id="{0B4AD614-F81C-F9AD-E36F-EBCCE0DE5831}"/>
              </a:ext>
            </a:extLst>
          </p:cNvPr>
          <p:cNvSpPr txBox="1"/>
          <p:nvPr/>
        </p:nvSpPr>
        <p:spPr bwMode="gray">
          <a:xfrm>
            <a:off x="373968" y="3044813"/>
            <a:ext cx="4607869" cy="584775"/>
          </a:xfrm>
          <a:prstGeom prst="rect">
            <a:avLst/>
          </a:prstGeom>
          <a:noFill/>
        </p:spPr>
        <p:txBody>
          <a:bodyPr wrap="square">
            <a:spAutoFit/>
          </a:bodyPr>
          <a:lstStyle/>
          <a:p>
            <a:pPr algn="ctr"/>
            <a:r>
              <a:rPr lang="en-US" sz="1600"/>
              <a:t>This is what happened when a new Smart Component is discovered</a:t>
            </a:r>
            <a:endParaRPr lang="fr-FR" sz="1600"/>
          </a:p>
        </p:txBody>
      </p:sp>
      <p:pic>
        <p:nvPicPr>
          <p:cNvPr id="3" name="Picture 8" descr="OPC UA Client | Litmus - Enabling Industrial DataOps At Scale">
            <a:extLst>
              <a:ext uri="{FF2B5EF4-FFF2-40B4-BE49-F238E27FC236}">
                <a16:creationId xmlns:a16="http://schemas.microsoft.com/office/drawing/2014/main" id="{7749A770-7889-2359-FFA1-6CE72A609D2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37574" b="35910"/>
          <a:stretch/>
        </p:blipFill>
        <p:spPr bwMode="auto">
          <a:xfrm>
            <a:off x="2132866" y="1685693"/>
            <a:ext cx="3244516" cy="8603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668C88C9-BC4C-9428-3A1C-2490E70D45D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5834" y="1617838"/>
            <a:ext cx="905110" cy="996036"/>
          </a:xfrm>
          <a:prstGeom prst="rect">
            <a:avLst/>
          </a:prstGeom>
          <a:noFill/>
          <a:extLst>
            <a:ext uri="{909E8E84-426E-40DD-AFC4-6F175D3DCCD1}">
              <a14:hiddenFill xmlns:a14="http://schemas.microsoft.com/office/drawing/2010/main">
                <a:solidFill>
                  <a:srgbClr val="FFFFFF"/>
                </a:solidFill>
              </a14:hiddenFill>
            </a:ext>
          </a:extLst>
        </p:spPr>
      </p:pic>
      <p:sp>
        <p:nvSpPr>
          <p:cNvPr id="7" name="Arrow: Left-Right 6">
            <a:extLst>
              <a:ext uri="{FF2B5EF4-FFF2-40B4-BE49-F238E27FC236}">
                <a16:creationId xmlns:a16="http://schemas.microsoft.com/office/drawing/2014/main" id="{D76FF6CD-F74B-0872-AA57-CE2F14921D35}"/>
              </a:ext>
            </a:extLst>
          </p:cNvPr>
          <p:cNvSpPr/>
          <p:nvPr/>
        </p:nvSpPr>
        <p:spPr bwMode="gray">
          <a:xfrm>
            <a:off x="1430020" y="1995539"/>
            <a:ext cx="673769" cy="240632"/>
          </a:xfrm>
          <a:prstGeom prst="leftRightArrow">
            <a:avLst/>
          </a:prstGeom>
          <a:solidFill>
            <a:schemeClr val="bg1">
              <a:lumMod val="75000"/>
            </a:schemeClr>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err="1">
              <a:solidFill>
                <a:srgbClr val="FFFFFF"/>
              </a:solidFill>
              <a:latin typeface="Verdana"/>
            </a:endParaRPr>
          </a:p>
        </p:txBody>
      </p:sp>
      <p:sp>
        <p:nvSpPr>
          <p:cNvPr id="9" name="Arrow: Right 8">
            <a:extLst>
              <a:ext uri="{FF2B5EF4-FFF2-40B4-BE49-F238E27FC236}">
                <a16:creationId xmlns:a16="http://schemas.microsoft.com/office/drawing/2014/main" id="{66E7C290-9D29-288C-1EBD-9476C22C3B6D}"/>
              </a:ext>
            </a:extLst>
          </p:cNvPr>
          <p:cNvSpPr/>
          <p:nvPr/>
        </p:nvSpPr>
        <p:spPr bwMode="gray">
          <a:xfrm>
            <a:off x="4863774" y="4586515"/>
            <a:ext cx="926431" cy="280258"/>
          </a:xfrm>
          <a:prstGeom prst="rightArrow">
            <a:avLst/>
          </a:prstGeom>
          <a:solidFill>
            <a:schemeClr val="bg1">
              <a:lumMod val="75000"/>
            </a:schemeClr>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err="1">
              <a:solidFill>
                <a:srgbClr val="FFFFFF"/>
              </a:solidFill>
              <a:latin typeface="Verdana"/>
            </a:endParaRPr>
          </a:p>
        </p:txBody>
      </p:sp>
      <p:sp>
        <p:nvSpPr>
          <p:cNvPr id="11" name="TextBox 10">
            <a:extLst>
              <a:ext uri="{FF2B5EF4-FFF2-40B4-BE49-F238E27FC236}">
                <a16:creationId xmlns:a16="http://schemas.microsoft.com/office/drawing/2014/main" id="{4909BC5B-2FD7-FD80-9CBD-0791FABD6878}"/>
              </a:ext>
            </a:extLst>
          </p:cNvPr>
          <p:cNvSpPr txBox="1"/>
          <p:nvPr/>
        </p:nvSpPr>
        <p:spPr bwMode="gray">
          <a:xfrm>
            <a:off x="7267713" y="1788923"/>
            <a:ext cx="1226261" cy="338554"/>
          </a:xfrm>
          <a:prstGeom prst="rect">
            <a:avLst/>
          </a:prstGeom>
          <a:noFill/>
        </p:spPr>
        <p:txBody>
          <a:bodyPr wrap="square">
            <a:spAutoFit/>
          </a:bodyPr>
          <a:lstStyle/>
          <a:p>
            <a:r>
              <a:rPr lang="en-US" sz="1600"/>
              <a:t>Snipe-it</a:t>
            </a:r>
            <a:endParaRPr lang="fr-FR" sz="1600"/>
          </a:p>
        </p:txBody>
      </p:sp>
    </p:spTree>
    <p:extLst>
      <p:ext uri="{BB962C8B-B14F-4D97-AF65-F5344CB8AC3E}">
        <p14:creationId xmlns:p14="http://schemas.microsoft.com/office/powerpoint/2010/main" val="1653792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1778FF3-693E-51A9-2D9F-1F47B7A22525}"/>
              </a:ext>
            </a:extLst>
          </p:cNvPr>
          <p:cNvSpPr>
            <a:spLocks noGrp="1"/>
          </p:cNvSpPr>
          <p:nvPr>
            <p:ph type="body" sz="quarter" idx="13"/>
          </p:nvPr>
        </p:nvSpPr>
        <p:spPr/>
        <p:txBody>
          <a:bodyPr/>
          <a:lstStyle/>
          <a:p>
            <a:r>
              <a:rPr lang="fr-FR"/>
              <a:t>POC environnement</a:t>
            </a:r>
            <a:endParaRPr lang="en-US"/>
          </a:p>
        </p:txBody>
      </p:sp>
      <p:pic>
        <p:nvPicPr>
          <p:cNvPr id="3" name="Picture 2">
            <a:extLst>
              <a:ext uri="{FF2B5EF4-FFF2-40B4-BE49-F238E27FC236}">
                <a16:creationId xmlns:a16="http://schemas.microsoft.com/office/drawing/2014/main" id="{DBCD196F-DDB7-3B93-563E-C65BF9B31422}"/>
              </a:ext>
            </a:extLst>
          </p:cNvPr>
          <p:cNvPicPr>
            <a:picLocks noChangeAspect="1"/>
          </p:cNvPicPr>
          <p:nvPr/>
        </p:nvPicPr>
        <p:blipFill>
          <a:blip r:embed="rId2"/>
          <a:stretch>
            <a:fillRect/>
          </a:stretch>
        </p:blipFill>
        <p:spPr>
          <a:xfrm>
            <a:off x="764654" y="802439"/>
            <a:ext cx="10662692" cy="4760444"/>
          </a:xfrm>
          <a:prstGeom prst="rect">
            <a:avLst/>
          </a:prstGeom>
        </p:spPr>
      </p:pic>
      <p:sp>
        <p:nvSpPr>
          <p:cNvPr id="8" name="TextBox 7">
            <a:extLst>
              <a:ext uri="{FF2B5EF4-FFF2-40B4-BE49-F238E27FC236}">
                <a16:creationId xmlns:a16="http://schemas.microsoft.com/office/drawing/2014/main" id="{43BAC6AD-9FF6-280D-83C6-6B2C69F4E7A4}"/>
              </a:ext>
            </a:extLst>
          </p:cNvPr>
          <p:cNvSpPr txBox="1"/>
          <p:nvPr/>
        </p:nvSpPr>
        <p:spPr bwMode="gray">
          <a:xfrm>
            <a:off x="1974172" y="5711701"/>
            <a:ext cx="8243656" cy="830997"/>
          </a:xfrm>
          <a:prstGeom prst="rect">
            <a:avLst/>
          </a:prstGeom>
          <a:noFill/>
        </p:spPr>
        <p:txBody>
          <a:bodyPr wrap="square">
            <a:spAutoFit/>
          </a:bodyPr>
          <a:lstStyle/>
          <a:p>
            <a:r>
              <a:rPr lang="en-US" sz="1600"/>
              <a:t>All these assets were discovered on the Twin-Bench, and the script retained their model, manufacturer, and IP address. We can choose to display them on the API.</a:t>
            </a:r>
            <a:endParaRPr lang="fr-FR" sz="1600"/>
          </a:p>
        </p:txBody>
      </p:sp>
    </p:spTree>
    <p:extLst>
      <p:ext uri="{BB962C8B-B14F-4D97-AF65-F5344CB8AC3E}">
        <p14:creationId xmlns:p14="http://schemas.microsoft.com/office/powerpoint/2010/main" val="15748017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5F40235-2E5C-2AF3-BA43-EDDCD7AB42DD}"/>
              </a:ext>
            </a:extLst>
          </p:cNvPr>
          <p:cNvSpPr>
            <a:spLocks noGrp="1"/>
          </p:cNvSpPr>
          <p:nvPr>
            <p:ph type="ctrTitle"/>
          </p:nvPr>
        </p:nvSpPr>
        <p:spPr/>
        <p:txBody>
          <a:bodyPr/>
          <a:lstStyle/>
          <a:p>
            <a:r>
              <a:rPr lang="fr-FR"/>
              <a:t>Next</a:t>
            </a:r>
            <a:br>
              <a:rPr lang="fr-FR"/>
            </a:br>
            <a:r>
              <a:rPr lang="fr-FR"/>
              <a:t>Steps…</a:t>
            </a:r>
          </a:p>
        </p:txBody>
      </p:sp>
    </p:spTree>
    <p:extLst>
      <p:ext uri="{BB962C8B-B14F-4D97-AF65-F5344CB8AC3E}">
        <p14:creationId xmlns:p14="http://schemas.microsoft.com/office/powerpoint/2010/main" val="33979150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3067760D-F397-F6CE-3D2C-D6C47E4A92CB}"/>
              </a:ext>
            </a:extLst>
          </p:cNvPr>
          <p:cNvSpPr>
            <a:spLocks noGrp="1"/>
          </p:cNvSpPr>
          <p:nvPr>
            <p:ph type="body" sz="quarter" idx="13"/>
          </p:nvPr>
        </p:nvSpPr>
        <p:spPr/>
        <p:txBody>
          <a:bodyPr/>
          <a:lstStyle/>
          <a:p>
            <a:r>
              <a:rPr lang="en-US"/>
              <a:t>01</a:t>
            </a:r>
          </a:p>
        </p:txBody>
      </p:sp>
      <p:sp>
        <p:nvSpPr>
          <p:cNvPr id="8" name="Title 7">
            <a:extLst>
              <a:ext uri="{FF2B5EF4-FFF2-40B4-BE49-F238E27FC236}">
                <a16:creationId xmlns:a16="http://schemas.microsoft.com/office/drawing/2014/main" id="{FF0F8BD7-7609-2AC6-D79A-1B0DB4C00173}"/>
              </a:ext>
            </a:extLst>
          </p:cNvPr>
          <p:cNvSpPr>
            <a:spLocks noGrp="1"/>
          </p:cNvSpPr>
          <p:nvPr>
            <p:ph type="title"/>
          </p:nvPr>
        </p:nvSpPr>
        <p:spPr>
          <a:xfrm>
            <a:off x="6571331" y="1839244"/>
            <a:ext cx="5327651" cy="1368151"/>
          </a:xfrm>
        </p:spPr>
        <p:txBody>
          <a:bodyPr/>
          <a:lstStyle/>
          <a:p>
            <a:r>
              <a:rPr lang="en-US"/>
              <a:t>Context of the activity</a:t>
            </a:r>
          </a:p>
        </p:txBody>
      </p:sp>
    </p:spTree>
    <p:extLst>
      <p:ext uri="{BB962C8B-B14F-4D97-AF65-F5344CB8AC3E}">
        <p14:creationId xmlns:p14="http://schemas.microsoft.com/office/powerpoint/2010/main" val="18442484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05C374F-8EE7-7BEB-1488-DBE6650915FB}"/>
              </a:ext>
            </a:extLst>
          </p:cNvPr>
          <p:cNvSpPr txBox="1"/>
          <p:nvPr/>
        </p:nvSpPr>
        <p:spPr bwMode="gray">
          <a:xfrm>
            <a:off x="1544149" y="164370"/>
            <a:ext cx="3027447" cy="369332"/>
          </a:xfrm>
          <a:prstGeom prst="rect">
            <a:avLst/>
          </a:prstGeom>
          <a:noFill/>
        </p:spPr>
        <p:txBody>
          <a:bodyPr wrap="square">
            <a:spAutoFit/>
          </a:bodyPr>
          <a:lstStyle/>
          <a:p>
            <a:r>
              <a:rPr lang="fr-FR" b="1"/>
              <a:t>Have a Broader View</a:t>
            </a:r>
          </a:p>
        </p:txBody>
      </p:sp>
      <p:pic>
        <p:nvPicPr>
          <p:cNvPr id="1026" name="Picture 2">
            <a:extLst>
              <a:ext uri="{FF2B5EF4-FFF2-40B4-BE49-F238E27FC236}">
                <a16:creationId xmlns:a16="http://schemas.microsoft.com/office/drawing/2014/main" id="{15A45BF8-5D75-D541-9E17-1D41F1505B5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72016" y="1130294"/>
            <a:ext cx="676723" cy="744705"/>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Single Corner Snipped 5">
            <a:extLst>
              <a:ext uri="{FF2B5EF4-FFF2-40B4-BE49-F238E27FC236}">
                <a16:creationId xmlns:a16="http://schemas.microsoft.com/office/drawing/2014/main" id="{B9CE0E9B-B848-EDF6-931A-E026C1974A56}"/>
              </a:ext>
            </a:extLst>
          </p:cNvPr>
          <p:cNvSpPr/>
          <p:nvPr/>
        </p:nvSpPr>
        <p:spPr bwMode="gray">
          <a:xfrm>
            <a:off x="922619" y="982280"/>
            <a:ext cx="957817" cy="1040732"/>
          </a:xfrm>
          <a:prstGeom prst="snip1Rect">
            <a:avLst/>
          </a:prstGeom>
          <a:solidFill>
            <a:schemeClr val="accent4">
              <a:lumMod val="60000"/>
              <a:lumOff val="40000"/>
            </a:schemeClr>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r>
              <a:rPr lang="fr-FR" sz="1600" kern="0">
                <a:solidFill>
                  <a:srgbClr val="FFFFFF"/>
                </a:solidFill>
                <a:latin typeface="Verdana"/>
              </a:rPr>
              <a:t>Twin</a:t>
            </a:r>
          </a:p>
          <a:p>
            <a:pPr marL="0" indent="0" algn="ctr">
              <a:spcBef>
                <a:spcPts val="300"/>
              </a:spcBef>
              <a:spcAft>
                <a:spcPts val="300"/>
              </a:spcAft>
              <a:buClr>
                <a:schemeClr val="bg1"/>
              </a:buClr>
              <a:buSzPct val="100000"/>
              <a:buFont typeface="Arial" panose="020B0604020202020204" pitchFamily="34" charset="0"/>
              <a:buNone/>
            </a:pPr>
            <a:r>
              <a:rPr lang="fr-FR" sz="1600" kern="0">
                <a:solidFill>
                  <a:srgbClr val="FFFFFF"/>
                </a:solidFill>
                <a:latin typeface="Verdana"/>
              </a:rPr>
              <a:t>Bench</a:t>
            </a:r>
          </a:p>
        </p:txBody>
      </p:sp>
      <p:sp>
        <p:nvSpPr>
          <p:cNvPr id="7" name="Rectangle: Single Corner Snipped 6">
            <a:extLst>
              <a:ext uri="{FF2B5EF4-FFF2-40B4-BE49-F238E27FC236}">
                <a16:creationId xmlns:a16="http://schemas.microsoft.com/office/drawing/2014/main" id="{39407709-C600-FE2A-5DCF-03ECEAF167A4}"/>
              </a:ext>
            </a:extLst>
          </p:cNvPr>
          <p:cNvSpPr/>
          <p:nvPr/>
        </p:nvSpPr>
        <p:spPr bwMode="gray">
          <a:xfrm>
            <a:off x="3093672" y="2281316"/>
            <a:ext cx="957817" cy="1040732"/>
          </a:xfrm>
          <a:prstGeom prst="snip1Rect">
            <a:avLst/>
          </a:prstGeom>
          <a:solidFill>
            <a:schemeClr val="accent4">
              <a:lumMod val="60000"/>
              <a:lumOff val="40000"/>
            </a:schemeClr>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r>
              <a:rPr lang="fr-FR" sz="1600" kern="0">
                <a:solidFill>
                  <a:srgbClr val="FFFFFF"/>
                </a:solidFill>
                <a:latin typeface="Verdana"/>
              </a:rPr>
              <a:t>CCM</a:t>
            </a:r>
          </a:p>
          <a:p>
            <a:pPr marL="0" indent="0" algn="ctr">
              <a:spcBef>
                <a:spcPts val="300"/>
              </a:spcBef>
              <a:spcAft>
                <a:spcPts val="300"/>
              </a:spcAft>
              <a:buClr>
                <a:schemeClr val="bg1"/>
              </a:buClr>
              <a:buSzPct val="100000"/>
              <a:buFont typeface="Arial" panose="020B0604020202020204" pitchFamily="34" charset="0"/>
              <a:buNone/>
            </a:pPr>
            <a:r>
              <a:rPr lang="fr-FR" sz="1600" kern="0">
                <a:solidFill>
                  <a:srgbClr val="FFFFFF"/>
                </a:solidFill>
                <a:latin typeface="Verdana"/>
              </a:rPr>
              <a:t>Bench</a:t>
            </a:r>
          </a:p>
        </p:txBody>
      </p:sp>
      <p:sp>
        <p:nvSpPr>
          <p:cNvPr id="8" name="Rectangle: Single Corner Snipped 7">
            <a:extLst>
              <a:ext uri="{FF2B5EF4-FFF2-40B4-BE49-F238E27FC236}">
                <a16:creationId xmlns:a16="http://schemas.microsoft.com/office/drawing/2014/main" id="{44397697-A3E0-8461-89F5-187D4DE5FADA}"/>
              </a:ext>
            </a:extLst>
          </p:cNvPr>
          <p:cNvSpPr/>
          <p:nvPr/>
        </p:nvSpPr>
        <p:spPr bwMode="gray">
          <a:xfrm>
            <a:off x="1747837" y="2251237"/>
            <a:ext cx="957817" cy="1040732"/>
          </a:xfrm>
          <a:prstGeom prst="snip1Rect">
            <a:avLst/>
          </a:prstGeom>
          <a:solidFill>
            <a:schemeClr val="accent4">
              <a:lumMod val="60000"/>
              <a:lumOff val="40000"/>
            </a:schemeClr>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r>
              <a:rPr lang="fr-FR" sz="1600" kern="0">
                <a:solidFill>
                  <a:srgbClr val="FFFFFF"/>
                </a:solidFill>
                <a:latin typeface="Verdana"/>
              </a:rPr>
              <a:t>Dev</a:t>
            </a:r>
          </a:p>
          <a:p>
            <a:pPr marL="0" indent="0" algn="ctr">
              <a:spcBef>
                <a:spcPts val="300"/>
              </a:spcBef>
              <a:spcAft>
                <a:spcPts val="300"/>
              </a:spcAft>
              <a:buClr>
                <a:schemeClr val="bg1"/>
              </a:buClr>
              <a:buSzPct val="100000"/>
              <a:buFont typeface="Arial" panose="020B0604020202020204" pitchFamily="34" charset="0"/>
              <a:buNone/>
            </a:pPr>
            <a:r>
              <a:rPr lang="fr-FR" sz="1600" kern="0">
                <a:solidFill>
                  <a:srgbClr val="FFFFFF"/>
                </a:solidFill>
                <a:latin typeface="Verdana"/>
              </a:rPr>
              <a:t>Bench</a:t>
            </a:r>
          </a:p>
        </p:txBody>
      </p:sp>
      <p:sp>
        <p:nvSpPr>
          <p:cNvPr id="9" name="Rectangle: Single Corner Snipped 8">
            <a:extLst>
              <a:ext uri="{FF2B5EF4-FFF2-40B4-BE49-F238E27FC236}">
                <a16:creationId xmlns:a16="http://schemas.microsoft.com/office/drawing/2014/main" id="{6295BCA2-08BC-A83F-62BD-BEA03EAE3164}"/>
              </a:ext>
            </a:extLst>
          </p:cNvPr>
          <p:cNvSpPr/>
          <p:nvPr/>
        </p:nvSpPr>
        <p:spPr bwMode="gray">
          <a:xfrm>
            <a:off x="3940319" y="982280"/>
            <a:ext cx="957817" cy="1040732"/>
          </a:xfrm>
          <a:prstGeom prst="snip1Rect">
            <a:avLst/>
          </a:prstGeom>
          <a:solidFill>
            <a:schemeClr val="accent4">
              <a:lumMod val="60000"/>
              <a:lumOff val="40000"/>
            </a:schemeClr>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r>
              <a:rPr lang="fr-FR" sz="1600" kern="0">
                <a:solidFill>
                  <a:srgbClr val="FFFFFF"/>
                </a:solidFill>
                <a:latin typeface="Verdana"/>
              </a:rPr>
              <a:t>3PEA</a:t>
            </a:r>
          </a:p>
          <a:p>
            <a:pPr marL="0" indent="0" algn="ctr">
              <a:spcBef>
                <a:spcPts val="300"/>
              </a:spcBef>
              <a:spcAft>
                <a:spcPts val="300"/>
              </a:spcAft>
              <a:buClr>
                <a:schemeClr val="bg1"/>
              </a:buClr>
              <a:buSzPct val="100000"/>
              <a:buFont typeface="Arial" panose="020B0604020202020204" pitchFamily="34" charset="0"/>
              <a:buNone/>
            </a:pPr>
            <a:r>
              <a:rPr lang="fr-FR" sz="1600" kern="0">
                <a:solidFill>
                  <a:srgbClr val="FFFFFF"/>
                </a:solidFill>
                <a:latin typeface="Verdana"/>
              </a:rPr>
              <a:t>Bench</a:t>
            </a:r>
          </a:p>
        </p:txBody>
      </p:sp>
      <p:sp>
        <p:nvSpPr>
          <p:cNvPr id="10" name="Arrow: Down 9">
            <a:extLst>
              <a:ext uri="{FF2B5EF4-FFF2-40B4-BE49-F238E27FC236}">
                <a16:creationId xmlns:a16="http://schemas.microsoft.com/office/drawing/2014/main" id="{7E64156F-8C18-8193-0B54-624EAAAF4594}"/>
              </a:ext>
            </a:extLst>
          </p:cNvPr>
          <p:cNvSpPr/>
          <p:nvPr/>
        </p:nvSpPr>
        <p:spPr bwMode="gray">
          <a:xfrm rot="5400000">
            <a:off x="2081976" y="1266069"/>
            <a:ext cx="270711" cy="433137"/>
          </a:xfrm>
          <a:prstGeom prst="downArrow">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err="1">
              <a:solidFill>
                <a:srgbClr val="FFFFFF"/>
              </a:solidFill>
              <a:latin typeface="Verdana"/>
            </a:endParaRPr>
          </a:p>
        </p:txBody>
      </p:sp>
      <p:sp>
        <p:nvSpPr>
          <p:cNvPr id="15" name="Arrow: Down 14">
            <a:extLst>
              <a:ext uri="{FF2B5EF4-FFF2-40B4-BE49-F238E27FC236}">
                <a16:creationId xmlns:a16="http://schemas.microsoft.com/office/drawing/2014/main" id="{7500026B-C51D-AB36-2B01-F5365B81FF7A}"/>
              </a:ext>
            </a:extLst>
          </p:cNvPr>
          <p:cNvSpPr/>
          <p:nvPr/>
        </p:nvSpPr>
        <p:spPr bwMode="gray">
          <a:xfrm rot="1888381">
            <a:off x="2388942" y="1779291"/>
            <a:ext cx="270711" cy="433137"/>
          </a:xfrm>
          <a:prstGeom prst="downArrow">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err="1">
              <a:solidFill>
                <a:srgbClr val="FFFFFF"/>
              </a:solidFill>
              <a:latin typeface="Verdana"/>
            </a:endParaRPr>
          </a:p>
        </p:txBody>
      </p:sp>
      <p:sp>
        <p:nvSpPr>
          <p:cNvPr id="16" name="Arrow: Down 15">
            <a:extLst>
              <a:ext uri="{FF2B5EF4-FFF2-40B4-BE49-F238E27FC236}">
                <a16:creationId xmlns:a16="http://schemas.microsoft.com/office/drawing/2014/main" id="{1A4C5E02-E48D-D6B3-8B7D-BAC53334A8A8}"/>
              </a:ext>
            </a:extLst>
          </p:cNvPr>
          <p:cNvSpPr/>
          <p:nvPr/>
        </p:nvSpPr>
        <p:spPr bwMode="gray">
          <a:xfrm rot="19921224">
            <a:off x="3143657" y="1806443"/>
            <a:ext cx="270711" cy="433137"/>
          </a:xfrm>
          <a:prstGeom prst="downArrow">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err="1">
              <a:solidFill>
                <a:srgbClr val="FFFFFF"/>
              </a:solidFill>
              <a:latin typeface="Verdana"/>
            </a:endParaRPr>
          </a:p>
        </p:txBody>
      </p:sp>
      <p:sp>
        <p:nvSpPr>
          <p:cNvPr id="17" name="Arrow: Down 16">
            <a:extLst>
              <a:ext uri="{FF2B5EF4-FFF2-40B4-BE49-F238E27FC236}">
                <a16:creationId xmlns:a16="http://schemas.microsoft.com/office/drawing/2014/main" id="{5405ED11-A6B3-6D10-3B7E-8EBD57F05CAB}"/>
              </a:ext>
            </a:extLst>
          </p:cNvPr>
          <p:cNvSpPr/>
          <p:nvPr/>
        </p:nvSpPr>
        <p:spPr bwMode="gray">
          <a:xfrm rot="16200000">
            <a:off x="3498881" y="1286077"/>
            <a:ext cx="270711" cy="433137"/>
          </a:xfrm>
          <a:prstGeom prst="downArrow">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err="1">
              <a:solidFill>
                <a:srgbClr val="FFFFFF"/>
              </a:solidFill>
              <a:latin typeface="Verdana"/>
            </a:endParaRPr>
          </a:p>
        </p:txBody>
      </p:sp>
      <p:pic>
        <p:nvPicPr>
          <p:cNvPr id="1028" name="Picture 4">
            <a:extLst>
              <a:ext uri="{FF2B5EF4-FFF2-40B4-BE49-F238E27FC236}">
                <a16:creationId xmlns:a16="http://schemas.microsoft.com/office/drawing/2014/main" id="{FA29409D-4AA1-DC4F-3918-218AAADB3CF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2409" y="4895133"/>
            <a:ext cx="4003811" cy="95692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Mtp File Icon - Free Download Files &amp; Folders Icons | IconScout">
            <a:extLst>
              <a:ext uri="{FF2B5EF4-FFF2-40B4-BE49-F238E27FC236}">
                <a16:creationId xmlns:a16="http://schemas.microsoft.com/office/drawing/2014/main" id="{F6D0E586-B604-EC37-7E9E-C6C1CB69DE0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98612" y="1642718"/>
            <a:ext cx="1157036" cy="1157036"/>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ome - Snipe-IT Free open source IT asset management">
            <a:extLst>
              <a:ext uri="{FF2B5EF4-FFF2-40B4-BE49-F238E27FC236}">
                <a16:creationId xmlns:a16="http://schemas.microsoft.com/office/drawing/2014/main" id="{2B93DC63-7888-1551-F404-11160CDDECD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52371" y="1376029"/>
            <a:ext cx="2005992" cy="1745956"/>
          </a:xfrm>
          <a:prstGeom prst="rect">
            <a:avLst/>
          </a:prstGeom>
          <a:noFill/>
          <a:extLst>
            <a:ext uri="{909E8E84-426E-40DD-AFC4-6F175D3DCCD1}">
              <a14:hiddenFill xmlns:a14="http://schemas.microsoft.com/office/drawing/2010/main">
                <a:solidFill>
                  <a:srgbClr val="FFFFFF"/>
                </a:solidFill>
              </a14:hiddenFill>
            </a:ext>
          </a:extLst>
        </p:spPr>
      </p:pic>
      <p:sp>
        <p:nvSpPr>
          <p:cNvPr id="20" name="Arrow: Right 19">
            <a:extLst>
              <a:ext uri="{FF2B5EF4-FFF2-40B4-BE49-F238E27FC236}">
                <a16:creationId xmlns:a16="http://schemas.microsoft.com/office/drawing/2014/main" id="{1DBFADAB-7F01-1FB0-B896-F80E50D82E95}"/>
              </a:ext>
            </a:extLst>
          </p:cNvPr>
          <p:cNvSpPr/>
          <p:nvPr/>
        </p:nvSpPr>
        <p:spPr bwMode="gray">
          <a:xfrm>
            <a:off x="7729066" y="2145574"/>
            <a:ext cx="807476" cy="253696"/>
          </a:xfrm>
          <a:prstGeom prst="rightArrow">
            <a:avLst/>
          </a:prstGeom>
          <a:solidFill>
            <a:srgbClr val="6569D4"/>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err="1">
              <a:solidFill>
                <a:srgbClr val="FFFFFF"/>
              </a:solidFill>
              <a:latin typeface="Verdana"/>
            </a:endParaRPr>
          </a:p>
        </p:txBody>
      </p:sp>
      <p:sp>
        <p:nvSpPr>
          <p:cNvPr id="22" name="TextBox 21">
            <a:extLst>
              <a:ext uri="{FF2B5EF4-FFF2-40B4-BE49-F238E27FC236}">
                <a16:creationId xmlns:a16="http://schemas.microsoft.com/office/drawing/2014/main" id="{6419D701-0332-CA04-CC3A-63A82BFEA778}"/>
              </a:ext>
            </a:extLst>
          </p:cNvPr>
          <p:cNvSpPr txBox="1"/>
          <p:nvPr/>
        </p:nvSpPr>
        <p:spPr bwMode="gray">
          <a:xfrm>
            <a:off x="6994722" y="576694"/>
            <a:ext cx="3863641" cy="646331"/>
          </a:xfrm>
          <a:prstGeom prst="rect">
            <a:avLst/>
          </a:prstGeom>
          <a:noFill/>
        </p:spPr>
        <p:txBody>
          <a:bodyPr wrap="square">
            <a:spAutoFit/>
          </a:bodyPr>
          <a:lstStyle/>
          <a:p>
            <a:r>
              <a:rPr lang="en-US" b="1"/>
              <a:t>Make the MTP files of the SC appear in Snipe-it</a:t>
            </a:r>
            <a:endParaRPr lang="fr-FR" b="1"/>
          </a:p>
        </p:txBody>
      </p:sp>
      <p:sp>
        <p:nvSpPr>
          <p:cNvPr id="23" name="TextBox 22">
            <a:extLst>
              <a:ext uri="{FF2B5EF4-FFF2-40B4-BE49-F238E27FC236}">
                <a16:creationId xmlns:a16="http://schemas.microsoft.com/office/drawing/2014/main" id="{4A2911F4-5E8C-3CB0-CE80-C71E50E2581F}"/>
              </a:ext>
            </a:extLst>
          </p:cNvPr>
          <p:cNvSpPr txBox="1"/>
          <p:nvPr/>
        </p:nvSpPr>
        <p:spPr bwMode="gray">
          <a:xfrm>
            <a:off x="1421495" y="4340644"/>
            <a:ext cx="2805637" cy="369332"/>
          </a:xfrm>
          <a:prstGeom prst="rect">
            <a:avLst/>
          </a:prstGeom>
          <a:noFill/>
        </p:spPr>
        <p:txBody>
          <a:bodyPr wrap="square">
            <a:spAutoFit/>
          </a:bodyPr>
          <a:lstStyle/>
          <a:p>
            <a:r>
              <a:rPr lang="en-US" b="1" err="1"/>
              <a:t>Dockerize</a:t>
            </a:r>
            <a:r>
              <a:rPr lang="en-US" b="1"/>
              <a:t> the script</a:t>
            </a:r>
            <a:endParaRPr lang="fr-FR" b="1"/>
          </a:p>
        </p:txBody>
      </p:sp>
      <p:sp>
        <p:nvSpPr>
          <p:cNvPr id="4" name="TextBox 3">
            <a:extLst>
              <a:ext uri="{FF2B5EF4-FFF2-40B4-BE49-F238E27FC236}">
                <a16:creationId xmlns:a16="http://schemas.microsoft.com/office/drawing/2014/main" id="{4DCFBC43-BBCE-671C-59FF-2C5774201CD4}"/>
              </a:ext>
            </a:extLst>
          </p:cNvPr>
          <p:cNvSpPr txBox="1"/>
          <p:nvPr/>
        </p:nvSpPr>
        <p:spPr bwMode="gray">
          <a:xfrm>
            <a:off x="6864152" y="3962559"/>
            <a:ext cx="3844090" cy="738664"/>
          </a:xfrm>
          <a:prstGeom prst="rect">
            <a:avLst/>
          </a:prstGeom>
          <a:noFill/>
        </p:spPr>
        <p:txBody>
          <a:bodyPr wrap="square" lIns="0" tIns="0" rIns="0" bIns="0" rtlCol="0">
            <a:spAutoFit/>
          </a:bodyPr>
          <a:lstStyle/>
          <a:p>
            <a:pPr algn="ctr">
              <a:spcBef>
                <a:spcPts val="300"/>
              </a:spcBef>
              <a:spcAft>
                <a:spcPts val="300"/>
              </a:spcAft>
              <a:buClr>
                <a:schemeClr val="accent1"/>
              </a:buClr>
            </a:pPr>
            <a:r>
              <a:rPr lang="en-US" sz="1600" b="1"/>
              <a:t>Use an LLM AI to better represent check-in check-out assets in Snipe-it.</a:t>
            </a:r>
            <a:endParaRPr kumimoji="0" lang="fr-FR" sz="1600" b="1" i="0" u="none" strike="noStrike" kern="1200" cap="none" spc="0" normalizeH="0" baseline="0" noProof="0" err="1">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cxnSp>
        <p:nvCxnSpPr>
          <p:cNvPr id="11" name="Straight Connector 10">
            <a:extLst>
              <a:ext uri="{FF2B5EF4-FFF2-40B4-BE49-F238E27FC236}">
                <a16:creationId xmlns:a16="http://schemas.microsoft.com/office/drawing/2014/main" id="{961C71A6-256B-9809-9E62-BD017F63DA24}"/>
              </a:ext>
            </a:extLst>
          </p:cNvPr>
          <p:cNvCxnSpPr>
            <a:cxnSpLocks/>
          </p:cNvCxnSpPr>
          <p:nvPr/>
        </p:nvCxnSpPr>
        <p:spPr>
          <a:xfrm flipH="1">
            <a:off x="5976113" y="246647"/>
            <a:ext cx="45692" cy="6611353"/>
          </a:xfrm>
          <a:prstGeom prst="line">
            <a:avLst/>
          </a:prstGeom>
          <a:ln w="12700"/>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DAED5B-0C2E-FCC0-FB3C-CFA2F4A69BA2}"/>
              </a:ext>
            </a:extLst>
          </p:cNvPr>
          <p:cNvCxnSpPr>
            <a:cxnSpLocks/>
          </p:cNvCxnSpPr>
          <p:nvPr/>
        </p:nvCxnSpPr>
        <p:spPr>
          <a:xfrm>
            <a:off x="20467" y="3507205"/>
            <a:ext cx="12171533" cy="60671"/>
          </a:xfrm>
          <a:prstGeom prst="line">
            <a:avLst/>
          </a:prstGeom>
          <a:ln w="12700"/>
        </p:spPr>
        <p:style>
          <a:lnRef idx="1">
            <a:schemeClr val="dk1"/>
          </a:lnRef>
          <a:fillRef idx="0">
            <a:schemeClr val="dk1"/>
          </a:fillRef>
          <a:effectRef idx="0">
            <a:schemeClr val="dk1"/>
          </a:effectRef>
          <a:fontRef idx="minor">
            <a:schemeClr val="tx1"/>
          </a:fontRef>
        </p:style>
      </p:cxnSp>
      <p:pic>
        <p:nvPicPr>
          <p:cNvPr id="3074" name="Picture 2" descr="Llm - Images et vidéos libres de droits | Adobe Stock">
            <a:extLst>
              <a:ext uri="{FF2B5EF4-FFF2-40B4-BE49-F238E27FC236}">
                <a16:creationId xmlns:a16="http://schemas.microsoft.com/office/drawing/2014/main" id="{F9BED1B6-9ED4-1325-2379-73A31400C55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38442" y="4683450"/>
            <a:ext cx="1895510" cy="18955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7206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2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02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030"/>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3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4"/>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30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animBg="1"/>
      <p:bldP spid="7" grpId="0" animBg="1"/>
      <p:bldP spid="8" grpId="0" animBg="1"/>
      <p:bldP spid="9" grpId="0" animBg="1"/>
      <p:bldP spid="10" grpId="0" animBg="1"/>
      <p:bldP spid="15" grpId="0" animBg="1"/>
      <p:bldP spid="16" grpId="0" animBg="1"/>
      <p:bldP spid="17" grpId="0" animBg="1"/>
      <p:bldP spid="20" grpId="0" animBg="1"/>
      <p:bldP spid="22" grpId="0"/>
      <p:bldP spid="23" grpId="0"/>
      <p:bldP spid="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463CB97-CCEF-CE24-E718-18F6F2D1D212}"/>
              </a:ext>
            </a:extLst>
          </p:cNvPr>
          <p:cNvSpPr>
            <a:spLocks noGrp="1"/>
          </p:cNvSpPr>
          <p:nvPr>
            <p:ph type="body" sz="quarter" idx="13"/>
          </p:nvPr>
        </p:nvSpPr>
        <p:spPr/>
        <p:txBody>
          <a:bodyPr/>
          <a:lstStyle/>
          <a:p>
            <a:endParaRPr lang="en-US"/>
          </a:p>
        </p:txBody>
      </p:sp>
      <p:sp>
        <p:nvSpPr>
          <p:cNvPr id="4" name="Title 3">
            <a:extLst>
              <a:ext uri="{FF2B5EF4-FFF2-40B4-BE49-F238E27FC236}">
                <a16:creationId xmlns:a16="http://schemas.microsoft.com/office/drawing/2014/main" id="{43A06B69-6968-0872-EF17-778B12E4A820}"/>
              </a:ext>
            </a:extLst>
          </p:cNvPr>
          <p:cNvSpPr>
            <a:spLocks noGrp="1"/>
          </p:cNvSpPr>
          <p:nvPr>
            <p:ph type="title"/>
          </p:nvPr>
        </p:nvSpPr>
        <p:spPr/>
        <p:txBody>
          <a:bodyPr/>
          <a:lstStyle/>
          <a:p>
            <a:r>
              <a:rPr lang="en-US"/>
              <a:t>Thank you everyone</a:t>
            </a:r>
          </a:p>
        </p:txBody>
      </p:sp>
    </p:spTree>
    <p:extLst>
      <p:ext uri="{BB962C8B-B14F-4D97-AF65-F5344CB8AC3E}">
        <p14:creationId xmlns:p14="http://schemas.microsoft.com/office/powerpoint/2010/main" val="35840972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32"/>
          <p:cNvSpPr txBox="1">
            <a:spLocks/>
          </p:cNvSpPr>
          <p:nvPr>
            <p:custDataLst>
              <p:tags r:id="rId2"/>
            </p:custDataLst>
          </p:nvPr>
        </p:nvSpPr>
        <p:spPr bwMode="gray">
          <a:xfrm>
            <a:off x="623886" y="1275390"/>
            <a:ext cx="5176837" cy="4307219"/>
          </a:xfrm>
          <a:prstGeom prst="rect">
            <a:avLst/>
          </a:prstGeom>
        </p:spPr>
        <p:txBody>
          <a:bodyPr vert="horz" lIns="0" tIns="0" rIns="0" bIns="0" rtlCol="0">
            <a:noAutofit/>
          </a:bodyPr>
          <a:lstStyle>
            <a:lvl1pPr marL="180000" indent="-180000" algn="l" defTabSz="914400" rtl="0" eaLnBrk="1" latinLnBrk="0" hangingPunct="1">
              <a:buClr>
                <a:schemeClr val="accent1"/>
              </a:buClr>
              <a:buFont typeface="Wingdings" panose="05000000000000000000" pitchFamily="2" charset="2"/>
              <a:buChar char=""/>
            </a:lvl1pPr>
            <a:lvl2pPr marL="180000" indent="-180000" algn="l" defTabSz="914400" rtl="0" eaLnBrk="1" latinLnBrk="0" hangingPunct="1">
              <a:buClr>
                <a:schemeClr val="accent1"/>
              </a:buClr>
              <a:buFont typeface="Wingdings" panose="05000000000000000000" pitchFamily="2" charset="2"/>
              <a:buChar char=""/>
            </a:lvl2pPr>
            <a:lvl3pPr marL="360000" indent="-180000" algn="l" defTabSz="914400" rtl="0" eaLnBrk="1" latinLnBrk="0" hangingPunct="1">
              <a:buClr>
                <a:schemeClr val="accent1"/>
              </a:buClr>
              <a:buFont typeface="Symbol" panose="05050102010706020507" pitchFamily="18" charset="2"/>
              <a:buChar char="-"/>
            </a:lvl3pPr>
            <a:lvl4pPr marL="538163" indent="-180000" algn="l" defTabSz="914400" rtl="0" eaLnBrk="1" latinLnBrk="0" hangingPunct="1">
              <a:buClr>
                <a:schemeClr val="bg2"/>
              </a:buClr>
              <a:buFont typeface="Symbol" panose="05050102010706020507" pitchFamily="18" charset="2"/>
              <a:buChar char="-"/>
            </a:lvl4pPr>
            <a:lvl5pPr marL="720725" indent="-180000" algn="l" defTabSz="914400" rtl="0" eaLnBrk="1" latinLnBrk="0" hangingPunct="1">
              <a:buClr>
                <a:schemeClr val="bg2"/>
              </a:buClr>
              <a:buFont typeface="Symbol" panose="05050102010706020507" pitchFamily="18" charset="2"/>
              <a:buChar char="-"/>
            </a:lvl5pPr>
            <a:lvl6pPr marL="720000" indent="-180000" algn="l" defTabSz="914400" rtl="0" eaLnBrk="1" latinLnBrk="0" hangingPunct="1">
              <a:buClr>
                <a:schemeClr val="bg2"/>
              </a:buClr>
              <a:buFont typeface="Symbol" panose="05050102010706020507" pitchFamily="18" charset="2"/>
              <a:buChar char="-"/>
            </a:lvl6pPr>
            <a:lvl7pPr marL="720000" indent="-180000" algn="l" defTabSz="914400" rtl="0" eaLnBrk="1" latinLnBrk="0" hangingPunct="1">
              <a:buClr>
                <a:schemeClr val="bg2"/>
              </a:buClr>
              <a:buFont typeface="Symbol" panose="05050102010706020507" pitchFamily="18" charset="2"/>
              <a:buChar char="-"/>
            </a:lvl7pPr>
            <a:lvl8pPr marL="720000" indent="-180000" algn="l" defTabSz="914400" rtl="0" eaLnBrk="1" latinLnBrk="0" hangingPunct="1">
              <a:buClr>
                <a:schemeClr val="bg2"/>
              </a:buClr>
              <a:buFont typeface="Symbol" panose="05050102010706020507" pitchFamily="18" charset="2"/>
              <a:buChar char="-"/>
            </a:lvl8pPr>
            <a:lvl9pPr marL="720000" indent="-180000" algn="l" defTabSz="914400" rtl="0" eaLnBrk="1" latinLnBrk="0" hangingPunct="1">
              <a:buClr>
                <a:schemeClr val="bg2"/>
              </a:buClr>
              <a:buFont typeface="Symbol" panose="05050102010706020507" pitchFamily="18" charset="2"/>
              <a:buChar char="-"/>
            </a:lvl9pPr>
          </a:lstStyle>
          <a:p>
            <a:pPr lvl="1"/>
            <a:r>
              <a:rPr lang="en-US"/>
              <a:t>The PoC aims to prove that an integrated solution can work for our R&amp;D bioprocess platform.</a:t>
            </a:r>
          </a:p>
          <a:p>
            <a:pPr lvl="1"/>
            <a:endParaRPr lang="en-US"/>
          </a:p>
          <a:p>
            <a:pPr lvl="1"/>
            <a:r>
              <a:rPr lang="en-US"/>
              <a:t>Validate the automation and centralized management of equipment across the DI platform.</a:t>
            </a:r>
          </a:p>
          <a:p>
            <a:pPr marL="0" lvl="1" indent="0">
              <a:buNone/>
            </a:pPr>
            <a:endParaRPr lang="en-US"/>
          </a:p>
          <a:p>
            <a:pPr lvl="1"/>
            <a:r>
              <a:rPr lang="en-US"/>
              <a:t>In this context, the focus is on deploying a prototype that automatically searches for industrial devices on the network. This prototype should continuously scan the network, detect active devices, and centralize their data within an asset manager, all while ensuring secure data transfers.</a:t>
            </a:r>
          </a:p>
          <a:p>
            <a:pPr marL="0" lvl="1" indent="0">
              <a:buNone/>
            </a:pPr>
            <a:endParaRPr lang="en-US"/>
          </a:p>
        </p:txBody>
      </p:sp>
      <p:grpSp>
        <p:nvGrpSpPr>
          <p:cNvPr id="11" name="Gruppieren 10">
            <a:extLst>
              <a:ext uri="{FF2B5EF4-FFF2-40B4-BE49-F238E27FC236}">
                <a16:creationId xmlns:a16="http://schemas.microsoft.com/office/drawing/2014/main" id="{ED0DC33E-92CD-4B52-96E7-C3C04264C888}"/>
              </a:ext>
            </a:extLst>
          </p:cNvPr>
          <p:cNvGrpSpPr/>
          <p:nvPr>
            <p:custDataLst>
              <p:tags r:id="rId3"/>
            </p:custDataLst>
          </p:nvPr>
        </p:nvGrpSpPr>
        <p:grpSpPr>
          <a:xfrm>
            <a:off x="6482837" y="666781"/>
            <a:ext cx="6503322" cy="6375398"/>
            <a:chOff x="6992525" y="1239732"/>
            <a:chExt cx="5201175" cy="5098866"/>
          </a:xfrm>
        </p:grpSpPr>
        <p:pic>
          <p:nvPicPr>
            <p:cNvPr id="12" name="Grafik 11">
              <a:extLst>
                <a:ext uri="{FF2B5EF4-FFF2-40B4-BE49-F238E27FC236}">
                  <a16:creationId xmlns:a16="http://schemas.microsoft.com/office/drawing/2014/main" id="{96640F59-2924-4CA7-800A-589200648B0B}"/>
                </a:ext>
              </a:extLst>
            </p:cNvPr>
            <p:cNvPicPr>
              <a:picLocks noChangeAspect="1"/>
            </p:cNvPicPr>
            <p:nvPr>
              <p:custDataLst>
                <p:tags r:id="rId5"/>
              </p:custDataLst>
            </p:nvPr>
          </p:nvPicPr>
          <p:blipFill>
            <a:blip r:embed="rId9" cstate="email">
              <a:extLst>
                <a:ext uri="{28A0092B-C50C-407E-A947-70E740481C1C}">
                  <a14:useLocalDpi xmlns:a14="http://schemas.microsoft.com/office/drawing/2010/main"/>
                </a:ext>
              </a:extLst>
            </a:blip>
            <a:stretch>
              <a:fillRect/>
            </a:stretch>
          </p:blipFill>
          <p:spPr bwMode="gray">
            <a:xfrm flipH="1">
              <a:off x="6992525" y="4201041"/>
              <a:ext cx="5201175" cy="2137557"/>
            </a:xfrm>
            <a:prstGeom prst="rect">
              <a:avLst/>
            </a:prstGeom>
          </p:spPr>
        </p:pic>
        <p:pic>
          <p:nvPicPr>
            <p:cNvPr id="13" name="Grafik 12">
              <a:extLst>
                <a:ext uri="{FF2B5EF4-FFF2-40B4-BE49-F238E27FC236}">
                  <a16:creationId xmlns:a16="http://schemas.microsoft.com/office/drawing/2014/main" id="{A7D7E1CF-E6EE-4F81-8A00-584168E76C4B}"/>
                </a:ext>
              </a:extLst>
            </p:cNvPr>
            <p:cNvPicPr>
              <a:picLocks noChangeAspect="1"/>
            </p:cNvPicPr>
            <p:nvPr>
              <p:custDataLst>
                <p:tags r:id="rId6"/>
              </p:custDataLst>
            </p:nvPr>
          </p:nvPicPr>
          <p:blipFill>
            <a:blip r:embed="rId10" cstate="email">
              <a:extLst>
                <a:ext uri="{28A0092B-C50C-407E-A947-70E740481C1C}">
                  <a14:useLocalDpi xmlns:a14="http://schemas.microsoft.com/office/drawing/2010/main"/>
                </a:ext>
              </a:extLst>
            </a:blip>
            <a:stretch>
              <a:fillRect/>
            </a:stretch>
          </p:blipFill>
          <p:spPr>
            <a:xfrm>
              <a:off x="7465268" y="1239732"/>
              <a:ext cx="3167236" cy="3167236"/>
            </a:xfrm>
            <a:prstGeom prst="rect">
              <a:avLst/>
            </a:prstGeom>
          </p:spPr>
        </p:pic>
      </p:grpSp>
      <p:sp>
        <p:nvSpPr>
          <p:cNvPr id="7" name="Title 3"/>
          <p:cNvSpPr txBox="1">
            <a:spLocks/>
          </p:cNvSpPr>
          <p:nvPr>
            <p:custDataLst>
              <p:tags r:id="rId4"/>
            </p:custDataLst>
          </p:nvPr>
        </p:nvSpPr>
        <p:spPr bwMode="gray">
          <a:xfrm>
            <a:off x="623890" y="404813"/>
            <a:ext cx="10944224" cy="1079971"/>
          </a:xfrm>
          <a:prstGeom prst="rect">
            <a:avLst/>
          </a:prstGeom>
        </p:spPr>
        <p:txBody>
          <a:bodyPr wrap="square" lIns="0" tIns="0" rIns="0" bIns="0" rtlCol="0" anchor="t">
            <a:noAutofit/>
          </a:bodyPr>
          <a:lstStyle>
            <a:lvl1pPr algn="l" defTabSz="914400" rtl="0" eaLnBrk="1" latinLnBrk="0" hangingPunct="1">
              <a:lnSpc>
                <a:spcPts val="2400"/>
              </a:lnSpc>
              <a:spcBef>
                <a:spcPct val="0"/>
              </a:spcBef>
              <a:buNone/>
              <a:defRPr lang="de-DE" sz="2200" b="1" kern="1200" baseline="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pPr>
              <a:lnSpc>
                <a:spcPct val="100000"/>
              </a:lnSpc>
              <a:tabLst>
                <a:tab pos="536575" algn="l"/>
              </a:tabLst>
            </a:pPr>
            <a:r>
              <a:rPr lang="en-US" sz="3600">
                <a:latin typeface="Merck" panose="02060803030402040803" pitchFamily="18" charset="0"/>
              </a:rPr>
              <a:t>Context of the activity</a:t>
            </a:r>
            <a:endParaRPr lang="en-US" altLang="en-US" sz="3600" b="0">
              <a:latin typeface="Merck" panose="02060803030402040803" pitchFamily="18" charset="0"/>
              <a:ea typeface="ＭＳ Ｐゴシック" panose="020B0600070205080204" pitchFamily="34" charset="-128"/>
            </a:endParaRPr>
          </a:p>
        </p:txBody>
      </p:sp>
    </p:spTree>
    <p:custDataLst>
      <p:tags r:id="rId1"/>
    </p:custDataLst>
    <p:extLst>
      <p:ext uri="{BB962C8B-B14F-4D97-AF65-F5344CB8AC3E}">
        <p14:creationId xmlns:p14="http://schemas.microsoft.com/office/powerpoint/2010/main" val="1558958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5C61498-6CE3-62D2-8EC0-65D5C8FF3EB3}"/>
              </a:ext>
            </a:extLst>
          </p:cNvPr>
          <p:cNvSpPr>
            <a:spLocks noGrp="1"/>
          </p:cNvSpPr>
          <p:nvPr>
            <p:ph type="body" sz="quarter" idx="13"/>
          </p:nvPr>
        </p:nvSpPr>
        <p:spPr>
          <a:xfrm>
            <a:off x="107329" y="269156"/>
            <a:ext cx="10944225" cy="398144"/>
          </a:xfrm>
          <a:ln>
            <a:noFill/>
          </a:ln>
        </p:spPr>
        <p:txBody>
          <a:bodyPr/>
          <a:lstStyle/>
          <a:p>
            <a:r>
              <a:rPr lang="en-US"/>
              <a:t>Concept &amp; Demo Covered topics </a:t>
            </a:r>
          </a:p>
          <a:p>
            <a:endParaRPr lang="en-US"/>
          </a:p>
        </p:txBody>
      </p:sp>
      <p:sp>
        <p:nvSpPr>
          <p:cNvPr id="14" name="Freeform: Shape 13">
            <a:extLst>
              <a:ext uri="{FF2B5EF4-FFF2-40B4-BE49-F238E27FC236}">
                <a16:creationId xmlns:a16="http://schemas.microsoft.com/office/drawing/2014/main" id="{4E0F47AA-0DC4-4C1C-8590-6BB88B356ECD}"/>
              </a:ext>
            </a:extLst>
          </p:cNvPr>
          <p:cNvSpPr/>
          <p:nvPr/>
        </p:nvSpPr>
        <p:spPr>
          <a:xfrm>
            <a:off x="3109520" y="2854568"/>
            <a:ext cx="1717572" cy="1474440"/>
          </a:xfrm>
          <a:custGeom>
            <a:avLst/>
            <a:gdLst>
              <a:gd name="connsiteX0" fmla="*/ 0 w 1717572"/>
              <a:gd name="connsiteY0" fmla="*/ 737220 h 1474440"/>
              <a:gd name="connsiteX1" fmla="*/ 368610 w 1717572"/>
              <a:gd name="connsiteY1" fmla="*/ 0 h 1474440"/>
              <a:gd name="connsiteX2" fmla="*/ 1348962 w 1717572"/>
              <a:gd name="connsiteY2" fmla="*/ 0 h 1474440"/>
              <a:gd name="connsiteX3" fmla="*/ 1717572 w 1717572"/>
              <a:gd name="connsiteY3" fmla="*/ 737220 h 1474440"/>
              <a:gd name="connsiteX4" fmla="*/ 1348962 w 1717572"/>
              <a:gd name="connsiteY4" fmla="*/ 1474440 h 1474440"/>
              <a:gd name="connsiteX5" fmla="*/ 368610 w 1717572"/>
              <a:gd name="connsiteY5" fmla="*/ 1474440 h 1474440"/>
              <a:gd name="connsiteX6" fmla="*/ 0 w 1717572"/>
              <a:gd name="connsiteY6" fmla="*/ 737220 h 1474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7572" h="1474440">
                <a:moveTo>
                  <a:pt x="0" y="737220"/>
                </a:moveTo>
                <a:lnTo>
                  <a:pt x="368610" y="0"/>
                </a:lnTo>
                <a:lnTo>
                  <a:pt x="1348962" y="0"/>
                </a:lnTo>
                <a:lnTo>
                  <a:pt x="1717572" y="737220"/>
                </a:lnTo>
                <a:lnTo>
                  <a:pt x="1348962" y="1474440"/>
                </a:lnTo>
                <a:lnTo>
                  <a:pt x="368610" y="1474440"/>
                </a:lnTo>
                <a:lnTo>
                  <a:pt x="0" y="737220"/>
                </a:lnTo>
                <a:close/>
              </a:path>
            </a:pathLst>
          </a:custGeom>
          <a:solidFill>
            <a:schemeClr val="bg1">
              <a:lumMod val="95000"/>
            </a:schemeClr>
          </a:solid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spcFirstLastPara="0" vert="horz" wrap="square" lIns="266001" tIns="239777" rIns="266001" bIns="239777" numCol="1" spcCol="1270" anchor="ctr" anchorCtr="0">
            <a:noAutofit/>
          </a:bodyPr>
          <a:lstStyle/>
          <a:p>
            <a:pPr marL="0" lvl="0" indent="0" algn="ctr" defTabSz="400050">
              <a:lnSpc>
                <a:spcPct val="90000"/>
              </a:lnSpc>
              <a:spcBef>
                <a:spcPct val="0"/>
              </a:spcBef>
              <a:spcAft>
                <a:spcPct val="35000"/>
              </a:spcAft>
              <a:buNone/>
            </a:pPr>
            <a:r>
              <a:rPr lang="fr-FR" sz="1200" b="1" kern="1200"/>
              <a:t>Consortia</a:t>
            </a:r>
            <a:endParaRPr lang="en-US" sz="1200" b="1" kern="1200"/>
          </a:p>
        </p:txBody>
      </p:sp>
      <p:sp>
        <p:nvSpPr>
          <p:cNvPr id="16" name="Hexagon 15">
            <a:extLst>
              <a:ext uri="{FF2B5EF4-FFF2-40B4-BE49-F238E27FC236}">
                <a16:creationId xmlns:a16="http://schemas.microsoft.com/office/drawing/2014/main" id="{8B23D3F1-35C1-4609-B5D1-25B84BACDDFF}"/>
              </a:ext>
            </a:extLst>
          </p:cNvPr>
          <p:cNvSpPr/>
          <p:nvPr/>
        </p:nvSpPr>
        <p:spPr>
          <a:xfrm flipV="1">
            <a:off x="9901360" y="4445093"/>
            <a:ext cx="112518" cy="159814"/>
          </a:xfrm>
          <a:prstGeom prst="hexagon">
            <a:avLst>
              <a:gd name="adj" fmla="val 25000"/>
              <a:gd name="vf" fmla="val 115470"/>
            </a:avLst>
          </a:prstGeom>
          <a:ln>
            <a:no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7" name="Hexagon 16">
            <a:extLst>
              <a:ext uri="{FF2B5EF4-FFF2-40B4-BE49-F238E27FC236}">
                <a16:creationId xmlns:a16="http://schemas.microsoft.com/office/drawing/2014/main" id="{1A05BC73-C862-44AB-87A5-9E7E737B0F94}"/>
              </a:ext>
            </a:extLst>
          </p:cNvPr>
          <p:cNvSpPr/>
          <p:nvPr/>
        </p:nvSpPr>
        <p:spPr>
          <a:xfrm>
            <a:off x="9779450" y="3930569"/>
            <a:ext cx="200082" cy="172701"/>
          </a:xfrm>
          <a:prstGeom prst="hexagon">
            <a:avLst>
              <a:gd name="adj" fmla="val 25000"/>
              <a:gd name="vf" fmla="val 115470"/>
            </a:avLst>
          </a:prstGeom>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8" name="Freeform: Shape 17">
            <a:extLst>
              <a:ext uri="{FF2B5EF4-FFF2-40B4-BE49-F238E27FC236}">
                <a16:creationId xmlns:a16="http://schemas.microsoft.com/office/drawing/2014/main" id="{2DE6297A-DF17-49F2-BF59-0AD473D1352C}"/>
              </a:ext>
            </a:extLst>
          </p:cNvPr>
          <p:cNvSpPr/>
          <p:nvPr/>
        </p:nvSpPr>
        <p:spPr>
          <a:xfrm>
            <a:off x="5871573" y="1337052"/>
            <a:ext cx="1717572" cy="1474440"/>
          </a:xfrm>
          <a:custGeom>
            <a:avLst/>
            <a:gdLst>
              <a:gd name="connsiteX0" fmla="*/ 0 w 1717572"/>
              <a:gd name="connsiteY0" fmla="*/ 737220 h 1474440"/>
              <a:gd name="connsiteX1" fmla="*/ 368610 w 1717572"/>
              <a:gd name="connsiteY1" fmla="*/ 0 h 1474440"/>
              <a:gd name="connsiteX2" fmla="*/ 1348962 w 1717572"/>
              <a:gd name="connsiteY2" fmla="*/ 0 h 1474440"/>
              <a:gd name="connsiteX3" fmla="*/ 1717572 w 1717572"/>
              <a:gd name="connsiteY3" fmla="*/ 737220 h 1474440"/>
              <a:gd name="connsiteX4" fmla="*/ 1348962 w 1717572"/>
              <a:gd name="connsiteY4" fmla="*/ 1474440 h 1474440"/>
              <a:gd name="connsiteX5" fmla="*/ 368610 w 1717572"/>
              <a:gd name="connsiteY5" fmla="*/ 1474440 h 1474440"/>
              <a:gd name="connsiteX6" fmla="*/ 0 w 1717572"/>
              <a:gd name="connsiteY6" fmla="*/ 737220 h 1474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7572" h="1474440">
                <a:moveTo>
                  <a:pt x="0" y="737220"/>
                </a:moveTo>
                <a:lnTo>
                  <a:pt x="368610" y="0"/>
                </a:lnTo>
                <a:lnTo>
                  <a:pt x="1348962" y="0"/>
                </a:lnTo>
                <a:lnTo>
                  <a:pt x="1717572" y="737220"/>
                </a:lnTo>
                <a:lnTo>
                  <a:pt x="1348962" y="1474440"/>
                </a:lnTo>
                <a:lnTo>
                  <a:pt x="368610" y="1474440"/>
                </a:lnTo>
                <a:lnTo>
                  <a:pt x="0" y="737220"/>
                </a:lnTo>
                <a:close/>
              </a:path>
            </a:pathLst>
          </a:custGeom>
          <a:solidFill>
            <a:schemeClr val="bg1">
              <a:lumMod val="95000"/>
            </a:schemeClr>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txBody>
          <a:bodyPr spcFirstLastPara="0" vert="horz" wrap="square" lIns="266001" tIns="239777" rIns="266001" bIns="239777" numCol="1" spcCol="1270" anchor="ctr" anchorCtr="0">
            <a:noAutofit/>
          </a:bodyPr>
          <a:lstStyle/>
          <a:p>
            <a:pPr marL="0" lvl="0" indent="0" algn="ctr" defTabSz="400050">
              <a:lnSpc>
                <a:spcPct val="90000"/>
              </a:lnSpc>
              <a:spcBef>
                <a:spcPct val="0"/>
              </a:spcBef>
              <a:spcAft>
                <a:spcPct val="35000"/>
              </a:spcAft>
              <a:buNone/>
            </a:pPr>
            <a:r>
              <a:rPr lang="fr-FR" sz="1200" b="1" kern="1200">
                <a:latin typeface="Verdana"/>
              </a:rPr>
              <a:t>NIIMBL</a:t>
            </a:r>
            <a:endParaRPr lang="fr-FR" sz="1200" kern="1200"/>
          </a:p>
        </p:txBody>
      </p:sp>
      <p:sp>
        <p:nvSpPr>
          <p:cNvPr id="22" name="Freeform: Shape 21">
            <a:extLst>
              <a:ext uri="{FF2B5EF4-FFF2-40B4-BE49-F238E27FC236}">
                <a16:creationId xmlns:a16="http://schemas.microsoft.com/office/drawing/2014/main" id="{97D8D0B3-5469-439E-9FB7-C238930763BB}"/>
              </a:ext>
            </a:extLst>
          </p:cNvPr>
          <p:cNvSpPr/>
          <p:nvPr/>
        </p:nvSpPr>
        <p:spPr>
          <a:xfrm>
            <a:off x="3109520" y="1337052"/>
            <a:ext cx="1717572" cy="1474440"/>
          </a:xfrm>
          <a:custGeom>
            <a:avLst/>
            <a:gdLst>
              <a:gd name="connsiteX0" fmla="*/ 0 w 1717572"/>
              <a:gd name="connsiteY0" fmla="*/ 737220 h 1474440"/>
              <a:gd name="connsiteX1" fmla="*/ 368610 w 1717572"/>
              <a:gd name="connsiteY1" fmla="*/ 0 h 1474440"/>
              <a:gd name="connsiteX2" fmla="*/ 1348962 w 1717572"/>
              <a:gd name="connsiteY2" fmla="*/ 0 h 1474440"/>
              <a:gd name="connsiteX3" fmla="*/ 1717572 w 1717572"/>
              <a:gd name="connsiteY3" fmla="*/ 737220 h 1474440"/>
              <a:gd name="connsiteX4" fmla="*/ 1348962 w 1717572"/>
              <a:gd name="connsiteY4" fmla="*/ 1474440 h 1474440"/>
              <a:gd name="connsiteX5" fmla="*/ 368610 w 1717572"/>
              <a:gd name="connsiteY5" fmla="*/ 1474440 h 1474440"/>
              <a:gd name="connsiteX6" fmla="*/ 0 w 1717572"/>
              <a:gd name="connsiteY6" fmla="*/ 737220 h 1474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7572" h="1474440">
                <a:moveTo>
                  <a:pt x="0" y="737220"/>
                </a:moveTo>
                <a:lnTo>
                  <a:pt x="368610" y="0"/>
                </a:lnTo>
                <a:lnTo>
                  <a:pt x="1348962" y="0"/>
                </a:lnTo>
                <a:lnTo>
                  <a:pt x="1717572" y="737220"/>
                </a:lnTo>
                <a:lnTo>
                  <a:pt x="1348962" y="1474440"/>
                </a:lnTo>
                <a:lnTo>
                  <a:pt x="368610" y="1474440"/>
                </a:lnTo>
                <a:lnTo>
                  <a:pt x="0" y="737220"/>
                </a:lnTo>
                <a:close/>
              </a:path>
            </a:pathLst>
          </a:custGeom>
          <a:solidFill>
            <a:schemeClr val="bg2"/>
          </a:solidFill>
          <a:ln>
            <a:noFill/>
          </a:ln>
        </p:spPr>
        <p:style>
          <a:lnRef idx="2">
            <a:scrgbClr r="0" g="0" b="0"/>
          </a:lnRef>
          <a:fillRef idx="1">
            <a:scrgbClr r="0" g="0" b="0"/>
          </a:fillRef>
          <a:effectRef idx="0">
            <a:schemeClr val="accent4">
              <a:hueOff val="0"/>
              <a:satOff val="0"/>
              <a:lumOff val="0"/>
              <a:alphaOff val="0"/>
            </a:schemeClr>
          </a:effectRef>
          <a:fontRef idx="minor">
            <a:schemeClr val="lt1"/>
          </a:fontRef>
        </p:style>
        <p:txBody>
          <a:bodyPr spcFirstLastPara="0" vert="horz" wrap="square" lIns="266001" tIns="238507" rIns="266001" bIns="238507" numCol="1" spcCol="1270" anchor="ctr" anchorCtr="0">
            <a:noAutofit/>
          </a:bodyPr>
          <a:lstStyle/>
          <a:p>
            <a:pPr algn="ctr" defTabSz="355600">
              <a:lnSpc>
                <a:spcPct val="90000"/>
              </a:lnSpc>
              <a:spcBef>
                <a:spcPct val="0"/>
              </a:spcBef>
              <a:spcAft>
                <a:spcPct val="35000"/>
              </a:spcAft>
            </a:pPr>
            <a:r>
              <a:rPr lang="fr-FR" sz="1200" b="1" kern="1200"/>
              <a:t>Smart </a:t>
            </a:r>
          </a:p>
          <a:p>
            <a:pPr algn="ctr" defTabSz="355600">
              <a:lnSpc>
                <a:spcPct val="90000"/>
              </a:lnSpc>
              <a:spcBef>
                <a:spcPct val="0"/>
              </a:spcBef>
              <a:spcAft>
                <a:spcPct val="35000"/>
              </a:spcAft>
            </a:pPr>
            <a:r>
              <a:rPr lang="fr-FR" sz="1200" b="1" kern="1200"/>
              <a:t>components</a:t>
            </a:r>
          </a:p>
        </p:txBody>
      </p:sp>
      <p:sp>
        <p:nvSpPr>
          <p:cNvPr id="26" name="Freeform: Shape 25">
            <a:extLst>
              <a:ext uri="{FF2B5EF4-FFF2-40B4-BE49-F238E27FC236}">
                <a16:creationId xmlns:a16="http://schemas.microsoft.com/office/drawing/2014/main" id="{4F62B4A9-5A83-4DA3-9BBA-2348507D6FF5}"/>
              </a:ext>
            </a:extLst>
          </p:cNvPr>
          <p:cNvSpPr/>
          <p:nvPr/>
        </p:nvSpPr>
        <p:spPr>
          <a:xfrm>
            <a:off x="5871573" y="4356650"/>
            <a:ext cx="1717572" cy="1474440"/>
          </a:xfrm>
          <a:custGeom>
            <a:avLst/>
            <a:gdLst>
              <a:gd name="connsiteX0" fmla="*/ 0 w 1717572"/>
              <a:gd name="connsiteY0" fmla="*/ 737220 h 1474440"/>
              <a:gd name="connsiteX1" fmla="*/ 368610 w 1717572"/>
              <a:gd name="connsiteY1" fmla="*/ 0 h 1474440"/>
              <a:gd name="connsiteX2" fmla="*/ 1348962 w 1717572"/>
              <a:gd name="connsiteY2" fmla="*/ 0 h 1474440"/>
              <a:gd name="connsiteX3" fmla="*/ 1717572 w 1717572"/>
              <a:gd name="connsiteY3" fmla="*/ 737220 h 1474440"/>
              <a:gd name="connsiteX4" fmla="*/ 1348962 w 1717572"/>
              <a:gd name="connsiteY4" fmla="*/ 1474440 h 1474440"/>
              <a:gd name="connsiteX5" fmla="*/ 368610 w 1717572"/>
              <a:gd name="connsiteY5" fmla="*/ 1474440 h 1474440"/>
              <a:gd name="connsiteX6" fmla="*/ 0 w 1717572"/>
              <a:gd name="connsiteY6" fmla="*/ 737220 h 1474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7572" h="1474440">
                <a:moveTo>
                  <a:pt x="0" y="737220"/>
                </a:moveTo>
                <a:lnTo>
                  <a:pt x="368610" y="0"/>
                </a:lnTo>
                <a:lnTo>
                  <a:pt x="1348962" y="0"/>
                </a:lnTo>
                <a:lnTo>
                  <a:pt x="1717572" y="737220"/>
                </a:lnTo>
                <a:lnTo>
                  <a:pt x="1348962" y="1474440"/>
                </a:lnTo>
                <a:lnTo>
                  <a:pt x="368610" y="1474440"/>
                </a:lnTo>
                <a:lnTo>
                  <a:pt x="0" y="737220"/>
                </a:lnTo>
                <a:close/>
              </a:path>
            </a:pathLst>
          </a:custGeom>
          <a:solidFill>
            <a:schemeClr val="bg1">
              <a:lumMod val="95000"/>
            </a:schemeClr>
          </a:solid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txBody>
          <a:bodyPr spcFirstLastPara="0" vert="horz" wrap="square" lIns="266001" tIns="239777" rIns="266001" bIns="239777" numCol="1" spcCol="1270" anchor="ctr" anchorCtr="0">
            <a:noAutofit/>
          </a:bodyPr>
          <a:lstStyle/>
          <a:p>
            <a:pPr marL="0" lvl="0" indent="0" algn="ctr" defTabSz="400050">
              <a:lnSpc>
                <a:spcPct val="90000"/>
              </a:lnSpc>
              <a:spcBef>
                <a:spcPct val="0"/>
              </a:spcBef>
              <a:spcAft>
                <a:spcPct val="35000"/>
              </a:spcAft>
              <a:buNone/>
            </a:pPr>
            <a:r>
              <a:rPr lang="fr-FR" sz="1200" b="1" kern="1200"/>
              <a:t>Standards</a:t>
            </a:r>
          </a:p>
        </p:txBody>
      </p:sp>
      <p:sp>
        <p:nvSpPr>
          <p:cNvPr id="30" name="Freeform: Shape 29">
            <a:extLst>
              <a:ext uri="{FF2B5EF4-FFF2-40B4-BE49-F238E27FC236}">
                <a16:creationId xmlns:a16="http://schemas.microsoft.com/office/drawing/2014/main" id="{657F63B4-FA8E-4CD2-AE44-A4333CD1620D}"/>
              </a:ext>
            </a:extLst>
          </p:cNvPr>
          <p:cNvSpPr/>
          <p:nvPr/>
        </p:nvSpPr>
        <p:spPr>
          <a:xfrm>
            <a:off x="1733558" y="3607414"/>
            <a:ext cx="1717572" cy="1474440"/>
          </a:xfrm>
          <a:custGeom>
            <a:avLst/>
            <a:gdLst>
              <a:gd name="connsiteX0" fmla="*/ 0 w 1717572"/>
              <a:gd name="connsiteY0" fmla="*/ 737220 h 1474440"/>
              <a:gd name="connsiteX1" fmla="*/ 368610 w 1717572"/>
              <a:gd name="connsiteY1" fmla="*/ 0 h 1474440"/>
              <a:gd name="connsiteX2" fmla="*/ 1348962 w 1717572"/>
              <a:gd name="connsiteY2" fmla="*/ 0 h 1474440"/>
              <a:gd name="connsiteX3" fmla="*/ 1717572 w 1717572"/>
              <a:gd name="connsiteY3" fmla="*/ 737220 h 1474440"/>
              <a:gd name="connsiteX4" fmla="*/ 1348962 w 1717572"/>
              <a:gd name="connsiteY4" fmla="*/ 1474440 h 1474440"/>
              <a:gd name="connsiteX5" fmla="*/ 368610 w 1717572"/>
              <a:gd name="connsiteY5" fmla="*/ 1474440 h 1474440"/>
              <a:gd name="connsiteX6" fmla="*/ 0 w 1717572"/>
              <a:gd name="connsiteY6" fmla="*/ 737220 h 1474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7572" h="1474440">
                <a:moveTo>
                  <a:pt x="0" y="737220"/>
                </a:moveTo>
                <a:lnTo>
                  <a:pt x="368610" y="0"/>
                </a:lnTo>
                <a:lnTo>
                  <a:pt x="1348962" y="0"/>
                </a:lnTo>
                <a:lnTo>
                  <a:pt x="1717572" y="737220"/>
                </a:lnTo>
                <a:lnTo>
                  <a:pt x="1348962" y="1474440"/>
                </a:lnTo>
                <a:lnTo>
                  <a:pt x="368610" y="1474440"/>
                </a:lnTo>
                <a:lnTo>
                  <a:pt x="0" y="737220"/>
                </a:lnTo>
                <a:close/>
              </a:path>
            </a:pathLst>
          </a:custGeom>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266001" tIns="239777" rIns="266001" bIns="239777" numCol="1" spcCol="1270" anchor="ctr" anchorCtr="0">
            <a:noAutofit/>
          </a:bodyPr>
          <a:lstStyle/>
          <a:p>
            <a:pPr marL="0" lvl="0" indent="0" algn="ctr" defTabSz="400050">
              <a:lnSpc>
                <a:spcPct val="90000"/>
              </a:lnSpc>
              <a:spcBef>
                <a:spcPct val="0"/>
              </a:spcBef>
              <a:spcAft>
                <a:spcPct val="35000"/>
              </a:spcAft>
              <a:buNone/>
            </a:pPr>
            <a:r>
              <a:rPr lang="fr-FR" sz="1200" b="1" kern="1200"/>
              <a:t>Support</a:t>
            </a:r>
          </a:p>
        </p:txBody>
      </p:sp>
      <p:sp>
        <p:nvSpPr>
          <p:cNvPr id="34" name="Freeform: Shape 33">
            <a:extLst>
              <a:ext uri="{FF2B5EF4-FFF2-40B4-BE49-F238E27FC236}">
                <a16:creationId xmlns:a16="http://schemas.microsoft.com/office/drawing/2014/main" id="{2E47EB4A-D7ED-4B17-B91B-8234E92E4593}"/>
              </a:ext>
            </a:extLst>
          </p:cNvPr>
          <p:cNvSpPr/>
          <p:nvPr/>
        </p:nvSpPr>
        <p:spPr>
          <a:xfrm>
            <a:off x="4486735" y="2095810"/>
            <a:ext cx="1717572" cy="1474440"/>
          </a:xfrm>
          <a:custGeom>
            <a:avLst/>
            <a:gdLst>
              <a:gd name="connsiteX0" fmla="*/ 0 w 1717572"/>
              <a:gd name="connsiteY0" fmla="*/ 737220 h 1474440"/>
              <a:gd name="connsiteX1" fmla="*/ 368610 w 1717572"/>
              <a:gd name="connsiteY1" fmla="*/ 0 h 1474440"/>
              <a:gd name="connsiteX2" fmla="*/ 1348962 w 1717572"/>
              <a:gd name="connsiteY2" fmla="*/ 0 h 1474440"/>
              <a:gd name="connsiteX3" fmla="*/ 1717572 w 1717572"/>
              <a:gd name="connsiteY3" fmla="*/ 737220 h 1474440"/>
              <a:gd name="connsiteX4" fmla="*/ 1348962 w 1717572"/>
              <a:gd name="connsiteY4" fmla="*/ 1474440 h 1474440"/>
              <a:gd name="connsiteX5" fmla="*/ 368610 w 1717572"/>
              <a:gd name="connsiteY5" fmla="*/ 1474440 h 1474440"/>
              <a:gd name="connsiteX6" fmla="*/ 0 w 1717572"/>
              <a:gd name="connsiteY6" fmla="*/ 737220 h 1474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7572" h="1474440">
                <a:moveTo>
                  <a:pt x="0" y="737220"/>
                </a:moveTo>
                <a:lnTo>
                  <a:pt x="368610" y="0"/>
                </a:lnTo>
                <a:lnTo>
                  <a:pt x="1348962" y="0"/>
                </a:lnTo>
                <a:lnTo>
                  <a:pt x="1717572" y="737220"/>
                </a:lnTo>
                <a:lnTo>
                  <a:pt x="1348962" y="1474440"/>
                </a:lnTo>
                <a:lnTo>
                  <a:pt x="368610" y="1474440"/>
                </a:lnTo>
                <a:lnTo>
                  <a:pt x="0" y="737220"/>
                </a:lnTo>
                <a:close/>
              </a:path>
            </a:pathLst>
          </a:custGeom>
          <a:solidFill>
            <a:schemeClr val="bg1">
              <a:lumMod val="95000"/>
            </a:schemeClr>
          </a:solidFill>
          <a:ln>
            <a:noFill/>
          </a:ln>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266001" tIns="239777" rIns="266001" bIns="239777" numCol="1" spcCol="1270" anchor="ctr" anchorCtr="0">
            <a:noAutofit/>
          </a:bodyPr>
          <a:lstStyle/>
          <a:p>
            <a:pPr marL="0" lvl="0" indent="0" algn="ctr" defTabSz="400050" rtl="0">
              <a:lnSpc>
                <a:spcPct val="90000"/>
              </a:lnSpc>
              <a:spcBef>
                <a:spcPct val="0"/>
              </a:spcBef>
              <a:spcAft>
                <a:spcPct val="35000"/>
              </a:spcAft>
              <a:buNone/>
            </a:pPr>
            <a:r>
              <a:rPr lang="en-US" sz="1200" b="1" kern="1200"/>
              <a:t>Artificial Intelligence</a:t>
            </a:r>
            <a:endParaRPr lang="fr-FR" sz="1200" b="1" kern="1200"/>
          </a:p>
        </p:txBody>
      </p:sp>
      <p:sp>
        <p:nvSpPr>
          <p:cNvPr id="38" name="Freeform: Shape 37">
            <a:extLst>
              <a:ext uri="{FF2B5EF4-FFF2-40B4-BE49-F238E27FC236}">
                <a16:creationId xmlns:a16="http://schemas.microsoft.com/office/drawing/2014/main" id="{A06ACFBB-E6F5-4BA7-80FB-1FA39D9F0389}"/>
              </a:ext>
            </a:extLst>
          </p:cNvPr>
          <p:cNvSpPr/>
          <p:nvPr/>
        </p:nvSpPr>
        <p:spPr>
          <a:xfrm>
            <a:off x="5871573" y="2840986"/>
            <a:ext cx="1717572" cy="1474440"/>
          </a:xfrm>
          <a:custGeom>
            <a:avLst/>
            <a:gdLst>
              <a:gd name="connsiteX0" fmla="*/ 0 w 1717572"/>
              <a:gd name="connsiteY0" fmla="*/ 737220 h 1474440"/>
              <a:gd name="connsiteX1" fmla="*/ 368610 w 1717572"/>
              <a:gd name="connsiteY1" fmla="*/ 0 h 1474440"/>
              <a:gd name="connsiteX2" fmla="*/ 1348962 w 1717572"/>
              <a:gd name="connsiteY2" fmla="*/ 0 h 1474440"/>
              <a:gd name="connsiteX3" fmla="*/ 1717572 w 1717572"/>
              <a:gd name="connsiteY3" fmla="*/ 737220 h 1474440"/>
              <a:gd name="connsiteX4" fmla="*/ 1348962 w 1717572"/>
              <a:gd name="connsiteY4" fmla="*/ 1474440 h 1474440"/>
              <a:gd name="connsiteX5" fmla="*/ 368610 w 1717572"/>
              <a:gd name="connsiteY5" fmla="*/ 1474440 h 1474440"/>
              <a:gd name="connsiteX6" fmla="*/ 0 w 1717572"/>
              <a:gd name="connsiteY6" fmla="*/ 737220 h 1474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7572" h="1474440">
                <a:moveTo>
                  <a:pt x="0" y="737220"/>
                </a:moveTo>
                <a:lnTo>
                  <a:pt x="368610" y="0"/>
                </a:lnTo>
                <a:lnTo>
                  <a:pt x="1348962" y="0"/>
                </a:lnTo>
                <a:lnTo>
                  <a:pt x="1717572" y="737220"/>
                </a:lnTo>
                <a:lnTo>
                  <a:pt x="1348962" y="1474440"/>
                </a:lnTo>
                <a:lnTo>
                  <a:pt x="368610" y="1474440"/>
                </a:lnTo>
                <a:lnTo>
                  <a:pt x="0" y="737220"/>
                </a:lnTo>
                <a:close/>
              </a:path>
            </a:pathLst>
          </a:custGeom>
          <a:solidFill>
            <a:schemeClr val="bg1">
              <a:lumMod val="95000"/>
            </a:schemeClr>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txBody>
          <a:bodyPr spcFirstLastPara="0" vert="horz" wrap="square" lIns="266001" tIns="239777" rIns="266001" bIns="239777" numCol="1" spcCol="1270" anchor="ctr" anchorCtr="0">
            <a:noAutofit/>
          </a:bodyPr>
          <a:lstStyle/>
          <a:p>
            <a:pPr marL="0" lvl="0" indent="0" algn="ctr" defTabSz="400050" rtl="0">
              <a:lnSpc>
                <a:spcPct val="90000"/>
              </a:lnSpc>
              <a:spcBef>
                <a:spcPct val="0"/>
              </a:spcBef>
              <a:spcAft>
                <a:spcPct val="35000"/>
              </a:spcAft>
              <a:buNone/>
            </a:pPr>
            <a:r>
              <a:rPr lang="fr-FR" sz="1200" b="1" kern="1200"/>
              <a:t>MBSE</a:t>
            </a:r>
            <a:endParaRPr lang="fr-FR" sz="1200" b="1" i="1" kern="1200"/>
          </a:p>
        </p:txBody>
      </p:sp>
      <p:sp>
        <p:nvSpPr>
          <p:cNvPr id="40" name="Hexagon 39">
            <a:hlinkClick r:id="rId3"/>
            <a:extLst>
              <a:ext uri="{FF2B5EF4-FFF2-40B4-BE49-F238E27FC236}">
                <a16:creationId xmlns:a16="http://schemas.microsoft.com/office/drawing/2014/main" id="{7BED25DD-385E-4EF8-A665-A00034F77FB7}"/>
              </a:ext>
            </a:extLst>
          </p:cNvPr>
          <p:cNvSpPr/>
          <p:nvPr/>
        </p:nvSpPr>
        <p:spPr>
          <a:xfrm flipH="1" flipV="1">
            <a:off x="10118820" y="4458875"/>
            <a:ext cx="131445" cy="225943"/>
          </a:xfrm>
          <a:prstGeom prst="hexagon">
            <a:avLst>
              <a:gd name="adj" fmla="val 25000"/>
              <a:gd name="vf" fmla="val 115470"/>
            </a:avLst>
          </a:prstGeom>
          <a:ln>
            <a:no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42" name="Freeform: Shape 41">
            <a:extLst>
              <a:ext uri="{FF2B5EF4-FFF2-40B4-BE49-F238E27FC236}">
                <a16:creationId xmlns:a16="http://schemas.microsoft.com/office/drawing/2014/main" id="{530D85AF-F5E3-4A11-9830-471A63BC4932}"/>
              </a:ext>
            </a:extLst>
          </p:cNvPr>
          <p:cNvSpPr/>
          <p:nvPr/>
        </p:nvSpPr>
        <p:spPr>
          <a:xfrm>
            <a:off x="1729546" y="2100984"/>
            <a:ext cx="1717572" cy="1474440"/>
          </a:xfrm>
          <a:custGeom>
            <a:avLst/>
            <a:gdLst>
              <a:gd name="connsiteX0" fmla="*/ 0 w 1717572"/>
              <a:gd name="connsiteY0" fmla="*/ 737220 h 1474440"/>
              <a:gd name="connsiteX1" fmla="*/ 368610 w 1717572"/>
              <a:gd name="connsiteY1" fmla="*/ 0 h 1474440"/>
              <a:gd name="connsiteX2" fmla="*/ 1348962 w 1717572"/>
              <a:gd name="connsiteY2" fmla="*/ 0 h 1474440"/>
              <a:gd name="connsiteX3" fmla="*/ 1717572 w 1717572"/>
              <a:gd name="connsiteY3" fmla="*/ 737220 h 1474440"/>
              <a:gd name="connsiteX4" fmla="*/ 1348962 w 1717572"/>
              <a:gd name="connsiteY4" fmla="*/ 1474440 h 1474440"/>
              <a:gd name="connsiteX5" fmla="*/ 368610 w 1717572"/>
              <a:gd name="connsiteY5" fmla="*/ 1474440 h 1474440"/>
              <a:gd name="connsiteX6" fmla="*/ 0 w 1717572"/>
              <a:gd name="connsiteY6" fmla="*/ 737220 h 1474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7572" h="1474440">
                <a:moveTo>
                  <a:pt x="0" y="737220"/>
                </a:moveTo>
                <a:lnTo>
                  <a:pt x="368610" y="0"/>
                </a:lnTo>
                <a:lnTo>
                  <a:pt x="1348962" y="0"/>
                </a:lnTo>
                <a:lnTo>
                  <a:pt x="1717572" y="737220"/>
                </a:lnTo>
                <a:lnTo>
                  <a:pt x="1348962" y="1474440"/>
                </a:lnTo>
                <a:lnTo>
                  <a:pt x="368610" y="1474440"/>
                </a:lnTo>
                <a:lnTo>
                  <a:pt x="0" y="737220"/>
                </a:lnTo>
                <a:close/>
              </a:path>
            </a:pathLst>
          </a:custGeom>
          <a:solidFill>
            <a:schemeClr val="tx2"/>
          </a:solidFill>
          <a:ln>
            <a:noFill/>
          </a:ln>
        </p:spPr>
        <p:style>
          <a:lnRef idx="2">
            <a:scrgbClr r="0" g="0" b="0"/>
          </a:lnRef>
          <a:fillRef idx="1">
            <a:scrgbClr r="0" g="0" b="0"/>
          </a:fillRef>
          <a:effectRef idx="0">
            <a:schemeClr val="accent4">
              <a:hueOff val="0"/>
              <a:satOff val="0"/>
              <a:lumOff val="0"/>
              <a:alphaOff val="0"/>
            </a:schemeClr>
          </a:effectRef>
          <a:fontRef idx="minor">
            <a:schemeClr val="lt1"/>
          </a:fontRef>
        </p:style>
        <p:txBody>
          <a:bodyPr spcFirstLastPara="0" vert="horz" wrap="square" lIns="266001" tIns="239777" rIns="266001" bIns="239777" numCol="1" spcCol="1270" anchor="ctr" anchorCtr="0">
            <a:noAutofit/>
          </a:bodyPr>
          <a:lstStyle/>
          <a:p>
            <a:pPr marL="0" lvl="0" indent="0" algn="ctr" defTabSz="400050" rtl="0">
              <a:lnSpc>
                <a:spcPct val="90000"/>
              </a:lnSpc>
              <a:spcBef>
                <a:spcPct val="0"/>
              </a:spcBef>
              <a:spcAft>
                <a:spcPct val="35000"/>
              </a:spcAft>
              <a:buNone/>
            </a:pPr>
            <a:r>
              <a:rPr lang="fr-FR" sz="1200" b="1" kern="1200"/>
              <a:t>Project management</a:t>
            </a:r>
          </a:p>
        </p:txBody>
      </p:sp>
      <p:sp>
        <p:nvSpPr>
          <p:cNvPr id="46" name="Freeform: Shape 45">
            <a:extLst>
              <a:ext uri="{FF2B5EF4-FFF2-40B4-BE49-F238E27FC236}">
                <a16:creationId xmlns:a16="http://schemas.microsoft.com/office/drawing/2014/main" id="{D39C0DDD-B1BF-47E1-981C-BFDDDE662088}"/>
              </a:ext>
            </a:extLst>
          </p:cNvPr>
          <p:cNvSpPr/>
          <p:nvPr/>
        </p:nvSpPr>
        <p:spPr>
          <a:xfrm>
            <a:off x="4487582" y="3599601"/>
            <a:ext cx="1717572" cy="1474440"/>
          </a:xfrm>
          <a:custGeom>
            <a:avLst/>
            <a:gdLst>
              <a:gd name="connsiteX0" fmla="*/ 0 w 1717572"/>
              <a:gd name="connsiteY0" fmla="*/ 737220 h 1474440"/>
              <a:gd name="connsiteX1" fmla="*/ 368610 w 1717572"/>
              <a:gd name="connsiteY1" fmla="*/ 0 h 1474440"/>
              <a:gd name="connsiteX2" fmla="*/ 1348962 w 1717572"/>
              <a:gd name="connsiteY2" fmla="*/ 0 h 1474440"/>
              <a:gd name="connsiteX3" fmla="*/ 1717572 w 1717572"/>
              <a:gd name="connsiteY3" fmla="*/ 737220 h 1474440"/>
              <a:gd name="connsiteX4" fmla="*/ 1348962 w 1717572"/>
              <a:gd name="connsiteY4" fmla="*/ 1474440 h 1474440"/>
              <a:gd name="connsiteX5" fmla="*/ 368610 w 1717572"/>
              <a:gd name="connsiteY5" fmla="*/ 1474440 h 1474440"/>
              <a:gd name="connsiteX6" fmla="*/ 0 w 1717572"/>
              <a:gd name="connsiteY6" fmla="*/ 737220 h 1474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7572" h="1474440">
                <a:moveTo>
                  <a:pt x="0" y="737220"/>
                </a:moveTo>
                <a:lnTo>
                  <a:pt x="368610" y="0"/>
                </a:lnTo>
                <a:lnTo>
                  <a:pt x="1348962" y="0"/>
                </a:lnTo>
                <a:lnTo>
                  <a:pt x="1717572" y="737220"/>
                </a:lnTo>
                <a:lnTo>
                  <a:pt x="1348962" y="1474440"/>
                </a:lnTo>
                <a:lnTo>
                  <a:pt x="368610" y="1474440"/>
                </a:lnTo>
                <a:lnTo>
                  <a:pt x="0" y="737220"/>
                </a:lnTo>
                <a:close/>
              </a:path>
            </a:pathLst>
          </a:custGeom>
          <a:solidFill>
            <a:schemeClr val="accent1"/>
          </a:solid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txBody>
          <a:bodyPr spcFirstLastPara="0" vert="horz" wrap="square" lIns="266001" tIns="239777" rIns="266001" bIns="239777" numCol="1" spcCol="1270" anchor="ctr" anchorCtr="0">
            <a:noAutofit/>
          </a:bodyPr>
          <a:lstStyle/>
          <a:p>
            <a:pPr marL="0" lvl="0" indent="0" algn="ctr" defTabSz="400050" rtl="0">
              <a:lnSpc>
                <a:spcPct val="90000"/>
              </a:lnSpc>
              <a:spcBef>
                <a:spcPct val="0"/>
              </a:spcBef>
              <a:spcAft>
                <a:spcPct val="35000"/>
              </a:spcAft>
              <a:buNone/>
            </a:pPr>
            <a:r>
              <a:rPr lang="fr-FR" sz="1200" b="1" kern="1200"/>
              <a:t>Monitoring</a:t>
            </a:r>
            <a:endParaRPr lang="fr-FR" sz="1200" b="1" i="1" kern="1200"/>
          </a:p>
        </p:txBody>
      </p:sp>
      <p:sp>
        <p:nvSpPr>
          <p:cNvPr id="48" name="Hexagon 47">
            <a:extLst>
              <a:ext uri="{FF2B5EF4-FFF2-40B4-BE49-F238E27FC236}">
                <a16:creationId xmlns:a16="http://schemas.microsoft.com/office/drawing/2014/main" id="{E55E09A1-39DA-403D-809C-4F405A75B899}"/>
              </a:ext>
            </a:extLst>
          </p:cNvPr>
          <p:cNvSpPr/>
          <p:nvPr/>
        </p:nvSpPr>
        <p:spPr>
          <a:xfrm flipH="1">
            <a:off x="9945814" y="3368071"/>
            <a:ext cx="264969" cy="97195"/>
          </a:xfrm>
          <a:prstGeom prst="hexagon">
            <a:avLst>
              <a:gd name="adj" fmla="val 25000"/>
              <a:gd name="vf" fmla="val 115470"/>
            </a:avLst>
          </a:prstGeom>
          <a:ln>
            <a:no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50" name="Freeform: Shape 49">
            <a:extLst>
              <a:ext uri="{FF2B5EF4-FFF2-40B4-BE49-F238E27FC236}">
                <a16:creationId xmlns:a16="http://schemas.microsoft.com/office/drawing/2014/main" id="{5650B8A0-1C49-42E0-8F94-9755D2B92766}"/>
              </a:ext>
            </a:extLst>
          </p:cNvPr>
          <p:cNvSpPr/>
          <p:nvPr/>
        </p:nvSpPr>
        <p:spPr>
          <a:xfrm>
            <a:off x="4486735" y="580146"/>
            <a:ext cx="1717572" cy="1474440"/>
          </a:xfrm>
          <a:custGeom>
            <a:avLst/>
            <a:gdLst>
              <a:gd name="connsiteX0" fmla="*/ 0 w 1717572"/>
              <a:gd name="connsiteY0" fmla="*/ 737220 h 1474440"/>
              <a:gd name="connsiteX1" fmla="*/ 368610 w 1717572"/>
              <a:gd name="connsiteY1" fmla="*/ 0 h 1474440"/>
              <a:gd name="connsiteX2" fmla="*/ 1348962 w 1717572"/>
              <a:gd name="connsiteY2" fmla="*/ 0 h 1474440"/>
              <a:gd name="connsiteX3" fmla="*/ 1717572 w 1717572"/>
              <a:gd name="connsiteY3" fmla="*/ 737220 h 1474440"/>
              <a:gd name="connsiteX4" fmla="*/ 1348962 w 1717572"/>
              <a:gd name="connsiteY4" fmla="*/ 1474440 h 1474440"/>
              <a:gd name="connsiteX5" fmla="*/ 368610 w 1717572"/>
              <a:gd name="connsiteY5" fmla="*/ 1474440 h 1474440"/>
              <a:gd name="connsiteX6" fmla="*/ 0 w 1717572"/>
              <a:gd name="connsiteY6" fmla="*/ 737220 h 1474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7572" h="1474440">
                <a:moveTo>
                  <a:pt x="0" y="737220"/>
                </a:moveTo>
                <a:lnTo>
                  <a:pt x="368610" y="0"/>
                </a:lnTo>
                <a:lnTo>
                  <a:pt x="1348962" y="0"/>
                </a:lnTo>
                <a:lnTo>
                  <a:pt x="1717572" y="737220"/>
                </a:lnTo>
                <a:lnTo>
                  <a:pt x="1348962" y="1474440"/>
                </a:lnTo>
                <a:lnTo>
                  <a:pt x="368610" y="1474440"/>
                </a:lnTo>
                <a:lnTo>
                  <a:pt x="0" y="737220"/>
                </a:lnTo>
                <a:close/>
              </a:path>
            </a:pathLst>
          </a:custGeom>
          <a:solidFill>
            <a:schemeClr val="bg1">
              <a:lumMod val="95000"/>
            </a:schemeClr>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266001" tIns="239777" rIns="266001" bIns="239777" numCol="1" spcCol="1270" anchor="ctr" anchorCtr="0">
            <a:noAutofit/>
          </a:bodyPr>
          <a:lstStyle/>
          <a:p>
            <a:pPr marL="0" lvl="0" indent="0" algn="ctr" defTabSz="400050" rtl="0">
              <a:lnSpc>
                <a:spcPct val="90000"/>
              </a:lnSpc>
              <a:spcBef>
                <a:spcPct val="0"/>
              </a:spcBef>
              <a:spcAft>
                <a:spcPct val="35000"/>
              </a:spcAft>
              <a:buNone/>
            </a:pPr>
            <a:r>
              <a:rPr lang="fr-FR" sz="1200" b="1" kern="1200"/>
              <a:t>Architecture Runway</a:t>
            </a:r>
          </a:p>
        </p:txBody>
      </p:sp>
      <p:sp>
        <p:nvSpPr>
          <p:cNvPr id="54" name="Freeform: Shape 53">
            <a:extLst>
              <a:ext uri="{FF2B5EF4-FFF2-40B4-BE49-F238E27FC236}">
                <a16:creationId xmlns:a16="http://schemas.microsoft.com/office/drawing/2014/main" id="{2C1DCEAA-AE08-4698-AC13-7DBD8960AEB8}"/>
              </a:ext>
            </a:extLst>
          </p:cNvPr>
          <p:cNvSpPr/>
          <p:nvPr/>
        </p:nvSpPr>
        <p:spPr>
          <a:xfrm>
            <a:off x="3108195" y="4360909"/>
            <a:ext cx="1717572" cy="1474440"/>
          </a:xfrm>
          <a:custGeom>
            <a:avLst/>
            <a:gdLst>
              <a:gd name="connsiteX0" fmla="*/ 0 w 1717572"/>
              <a:gd name="connsiteY0" fmla="*/ 737220 h 1474440"/>
              <a:gd name="connsiteX1" fmla="*/ 368610 w 1717572"/>
              <a:gd name="connsiteY1" fmla="*/ 0 h 1474440"/>
              <a:gd name="connsiteX2" fmla="*/ 1348962 w 1717572"/>
              <a:gd name="connsiteY2" fmla="*/ 0 h 1474440"/>
              <a:gd name="connsiteX3" fmla="*/ 1717572 w 1717572"/>
              <a:gd name="connsiteY3" fmla="*/ 737220 h 1474440"/>
              <a:gd name="connsiteX4" fmla="*/ 1348962 w 1717572"/>
              <a:gd name="connsiteY4" fmla="*/ 1474440 h 1474440"/>
              <a:gd name="connsiteX5" fmla="*/ 368610 w 1717572"/>
              <a:gd name="connsiteY5" fmla="*/ 1474440 h 1474440"/>
              <a:gd name="connsiteX6" fmla="*/ 0 w 1717572"/>
              <a:gd name="connsiteY6" fmla="*/ 737220 h 1474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7572" h="1474440">
                <a:moveTo>
                  <a:pt x="0" y="737220"/>
                </a:moveTo>
                <a:lnTo>
                  <a:pt x="368610" y="0"/>
                </a:lnTo>
                <a:lnTo>
                  <a:pt x="1348962" y="0"/>
                </a:lnTo>
                <a:lnTo>
                  <a:pt x="1717572" y="737220"/>
                </a:lnTo>
                <a:lnTo>
                  <a:pt x="1348962" y="1474440"/>
                </a:lnTo>
                <a:lnTo>
                  <a:pt x="368610" y="1474440"/>
                </a:lnTo>
                <a:lnTo>
                  <a:pt x="0" y="737220"/>
                </a:lnTo>
                <a:close/>
              </a:path>
            </a:pathLst>
          </a:custGeom>
          <a:solidFill>
            <a:schemeClr val="bg1">
              <a:lumMod val="95000"/>
            </a:schemeClr>
          </a:solidFill>
          <a:ln>
            <a:noFill/>
          </a:ln>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266001" tIns="239777" rIns="266001" bIns="239777" numCol="1" spcCol="1270" anchor="ctr" anchorCtr="0">
            <a:noAutofit/>
          </a:bodyPr>
          <a:lstStyle/>
          <a:p>
            <a:pPr marL="0" lvl="0" indent="0" algn="ctr" defTabSz="400050">
              <a:lnSpc>
                <a:spcPct val="90000"/>
              </a:lnSpc>
              <a:spcBef>
                <a:spcPct val="0"/>
              </a:spcBef>
              <a:spcAft>
                <a:spcPct val="35000"/>
              </a:spcAft>
              <a:buNone/>
            </a:pPr>
            <a:r>
              <a:rPr lang="fr-FR" sz="1200" b="1" kern="1200"/>
              <a:t>OT/IT</a:t>
            </a:r>
          </a:p>
        </p:txBody>
      </p:sp>
      <p:sp>
        <p:nvSpPr>
          <p:cNvPr id="58" name="Freeform: Shape 57">
            <a:extLst>
              <a:ext uri="{FF2B5EF4-FFF2-40B4-BE49-F238E27FC236}">
                <a16:creationId xmlns:a16="http://schemas.microsoft.com/office/drawing/2014/main" id="{DF4CF6D3-6EF5-4129-970C-811D90AA03EF}"/>
              </a:ext>
            </a:extLst>
          </p:cNvPr>
          <p:cNvSpPr/>
          <p:nvPr/>
        </p:nvSpPr>
        <p:spPr>
          <a:xfrm>
            <a:off x="4486735" y="5114404"/>
            <a:ext cx="1717572" cy="1474440"/>
          </a:xfrm>
          <a:custGeom>
            <a:avLst/>
            <a:gdLst>
              <a:gd name="connsiteX0" fmla="*/ 0 w 1717572"/>
              <a:gd name="connsiteY0" fmla="*/ 737220 h 1474440"/>
              <a:gd name="connsiteX1" fmla="*/ 368610 w 1717572"/>
              <a:gd name="connsiteY1" fmla="*/ 0 h 1474440"/>
              <a:gd name="connsiteX2" fmla="*/ 1348962 w 1717572"/>
              <a:gd name="connsiteY2" fmla="*/ 0 h 1474440"/>
              <a:gd name="connsiteX3" fmla="*/ 1717572 w 1717572"/>
              <a:gd name="connsiteY3" fmla="*/ 737220 h 1474440"/>
              <a:gd name="connsiteX4" fmla="*/ 1348962 w 1717572"/>
              <a:gd name="connsiteY4" fmla="*/ 1474440 h 1474440"/>
              <a:gd name="connsiteX5" fmla="*/ 368610 w 1717572"/>
              <a:gd name="connsiteY5" fmla="*/ 1474440 h 1474440"/>
              <a:gd name="connsiteX6" fmla="*/ 0 w 1717572"/>
              <a:gd name="connsiteY6" fmla="*/ 737220 h 1474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7572" h="1474440">
                <a:moveTo>
                  <a:pt x="0" y="737220"/>
                </a:moveTo>
                <a:lnTo>
                  <a:pt x="368610" y="0"/>
                </a:lnTo>
                <a:lnTo>
                  <a:pt x="1348962" y="0"/>
                </a:lnTo>
                <a:lnTo>
                  <a:pt x="1717572" y="737220"/>
                </a:lnTo>
                <a:lnTo>
                  <a:pt x="1348962" y="1474440"/>
                </a:lnTo>
                <a:lnTo>
                  <a:pt x="368610" y="1474440"/>
                </a:lnTo>
                <a:lnTo>
                  <a:pt x="0" y="737220"/>
                </a:lnTo>
                <a:close/>
              </a:path>
            </a:pathLst>
          </a:custGeom>
          <a:solidFill>
            <a:schemeClr val="bg1">
              <a:lumMod val="95000"/>
            </a:schemeClr>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txBody>
          <a:bodyPr spcFirstLastPara="0" vert="horz" wrap="square" lIns="266001" tIns="239777" rIns="266001" bIns="239777" numCol="1" spcCol="1270" anchor="ctr" anchorCtr="0">
            <a:noAutofit/>
          </a:bodyPr>
          <a:lstStyle/>
          <a:p>
            <a:pPr marL="0" lvl="0" indent="0" algn="ctr" defTabSz="400050" rtl="0">
              <a:lnSpc>
                <a:spcPct val="90000"/>
              </a:lnSpc>
              <a:spcBef>
                <a:spcPct val="0"/>
              </a:spcBef>
              <a:spcAft>
                <a:spcPct val="35000"/>
              </a:spcAft>
              <a:buNone/>
            </a:pPr>
            <a:r>
              <a:rPr lang="en-US" sz="1200" b="1" kern="1200">
                <a:latin typeface="Verdana"/>
              </a:rPr>
              <a:t>Front end</a:t>
            </a:r>
            <a:endParaRPr lang="en-US" sz="1200" b="1" kern="1200"/>
          </a:p>
        </p:txBody>
      </p:sp>
      <p:sp>
        <p:nvSpPr>
          <p:cNvPr id="11" name="Hexagon 10">
            <a:extLst>
              <a:ext uri="{FF2B5EF4-FFF2-40B4-BE49-F238E27FC236}">
                <a16:creationId xmlns:a16="http://schemas.microsoft.com/office/drawing/2014/main" id="{1FC7C393-FA9D-4B19-9691-6472314B4CD7}"/>
              </a:ext>
            </a:extLst>
          </p:cNvPr>
          <p:cNvSpPr/>
          <p:nvPr/>
        </p:nvSpPr>
        <p:spPr>
          <a:xfrm>
            <a:off x="7248788" y="2093664"/>
            <a:ext cx="1717572" cy="1474440"/>
          </a:xfrm>
          <a:prstGeom prst="hexagon">
            <a:avLst>
              <a:gd name="adj" fmla="val 25000"/>
              <a:gd name="vf" fmla="val 115470"/>
            </a:avLst>
          </a:prstGeom>
          <a:solidFill>
            <a:schemeClr val="bg2"/>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txBody>
          <a:bodyPr anchor="ctr" anchorCtr="0"/>
          <a:lstStyle/>
          <a:p>
            <a:pPr algn="ctr"/>
            <a:r>
              <a:rPr lang="en-US" sz="1200" b="1">
                <a:latin typeface="Verdana"/>
              </a:rPr>
              <a:t>Data</a:t>
            </a:r>
            <a:endParaRPr lang="en-US" sz="1200"/>
          </a:p>
        </p:txBody>
      </p:sp>
      <p:sp>
        <p:nvSpPr>
          <p:cNvPr id="63" name="Freeform: Shape 62">
            <a:extLst>
              <a:ext uri="{FF2B5EF4-FFF2-40B4-BE49-F238E27FC236}">
                <a16:creationId xmlns:a16="http://schemas.microsoft.com/office/drawing/2014/main" id="{AF753B90-3AB0-4728-BFF4-60B8D4B1691A}"/>
              </a:ext>
            </a:extLst>
          </p:cNvPr>
          <p:cNvSpPr/>
          <p:nvPr/>
        </p:nvSpPr>
        <p:spPr>
          <a:xfrm>
            <a:off x="7250674" y="3598818"/>
            <a:ext cx="1717572" cy="1474440"/>
          </a:xfrm>
          <a:custGeom>
            <a:avLst/>
            <a:gdLst>
              <a:gd name="connsiteX0" fmla="*/ 0 w 1717572"/>
              <a:gd name="connsiteY0" fmla="*/ 737220 h 1474440"/>
              <a:gd name="connsiteX1" fmla="*/ 368610 w 1717572"/>
              <a:gd name="connsiteY1" fmla="*/ 0 h 1474440"/>
              <a:gd name="connsiteX2" fmla="*/ 1348962 w 1717572"/>
              <a:gd name="connsiteY2" fmla="*/ 0 h 1474440"/>
              <a:gd name="connsiteX3" fmla="*/ 1717572 w 1717572"/>
              <a:gd name="connsiteY3" fmla="*/ 737220 h 1474440"/>
              <a:gd name="connsiteX4" fmla="*/ 1348962 w 1717572"/>
              <a:gd name="connsiteY4" fmla="*/ 1474440 h 1474440"/>
              <a:gd name="connsiteX5" fmla="*/ 368610 w 1717572"/>
              <a:gd name="connsiteY5" fmla="*/ 1474440 h 1474440"/>
              <a:gd name="connsiteX6" fmla="*/ 0 w 1717572"/>
              <a:gd name="connsiteY6" fmla="*/ 737220 h 1474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7572" h="1474440">
                <a:moveTo>
                  <a:pt x="0" y="737220"/>
                </a:moveTo>
                <a:lnTo>
                  <a:pt x="368610" y="0"/>
                </a:lnTo>
                <a:lnTo>
                  <a:pt x="1348962" y="0"/>
                </a:lnTo>
                <a:lnTo>
                  <a:pt x="1717572" y="737220"/>
                </a:lnTo>
                <a:lnTo>
                  <a:pt x="1348962" y="1474440"/>
                </a:lnTo>
                <a:lnTo>
                  <a:pt x="368610" y="1474440"/>
                </a:lnTo>
                <a:lnTo>
                  <a:pt x="0" y="737220"/>
                </a:lnTo>
                <a:close/>
              </a:path>
            </a:pathLst>
          </a:custGeom>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266001" tIns="239777" rIns="266001" bIns="239777" numCol="1" spcCol="1270" anchor="ctr" anchorCtr="0">
            <a:noAutofit/>
          </a:bodyPr>
          <a:lstStyle/>
          <a:p>
            <a:pPr marL="0" lvl="0" indent="0" algn="ctr" defTabSz="400050" rtl="0">
              <a:lnSpc>
                <a:spcPct val="90000"/>
              </a:lnSpc>
              <a:spcBef>
                <a:spcPct val="0"/>
              </a:spcBef>
              <a:spcAft>
                <a:spcPct val="35000"/>
              </a:spcAft>
              <a:buNone/>
            </a:pPr>
            <a:r>
              <a:rPr lang="en-US" sz="1200" b="1"/>
              <a:t>Cloud</a:t>
            </a:r>
            <a:endParaRPr lang="en-US" sz="1200" b="1" i="1"/>
          </a:p>
        </p:txBody>
      </p:sp>
      <p:sp>
        <p:nvSpPr>
          <p:cNvPr id="75" name="Hexagon 74">
            <a:extLst>
              <a:ext uri="{FF2B5EF4-FFF2-40B4-BE49-F238E27FC236}">
                <a16:creationId xmlns:a16="http://schemas.microsoft.com/office/drawing/2014/main" id="{ADBF26FA-79D8-4A86-855C-7C9AB4901B9B}"/>
              </a:ext>
            </a:extLst>
          </p:cNvPr>
          <p:cNvSpPr/>
          <p:nvPr/>
        </p:nvSpPr>
        <p:spPr>
          <a:xfrm>
            <a:off x="8633626" y="2838058"/>
            <a:ext cx="1717572" cy="1474440"/>
          </a:xfrm>
          <a:prstGeom prst="hexagon">
            <a:avLst>
              <a:gd name="adj" fmla="val 25000"/>
              <a:gd name="vf" fmla="val 115470"/>
            </a:avLst>
          </a:prstGeom>
          <a:solidFill>
            <a:schemeClr val="bg1">
              <a:lumMod val="95000"/>
            </a:schemeClr>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txBody>
          <a:bodyPr anchor="ctr" anchorCtr="0"/>
          <a:lstStyle/>
          <a:p>
            <a:pPr marL="0" lvl="0" indent="0" algn="ctr" defTabSz="400050" rtl="0">
              <a:lnSpc>
                <a:spcPct val="90000"/>
              </a:lnSpc>
              <a:spcBef>
                <a:spcPct val="0"/>
              </a:spcBef>
              <a:spcAft>
                <a:spcPct val="35000"/>
              </a:spcAft>
              <a:buNone/>
            </a:pPr>
            <a:r>
              <a:rPr lang="en-US" sz="1200" b="1">
                <a:latin typeface="Verdana"/>
              </a:rPr>
              <a:t>UX</a:t>
            </a:r>
            <a:endParaRPr lang="en-US" sz="1200" b="0" kern="1200"/>
          </a:p>
        </p:txBody>
      </p:sp>
      <p:sp>
        <p:nvSpPr>
          <p:cNvPr id="77" name="Hexagon 76">
            <a:extLst>
              <a:ext uri="{FF2B5EF4-FFF2-40B4-BE49-F238E27FC236}">
                <a16:creationId xmlns:a16="http://schemas.microsoft.com/office/drawing/2014/main" id="{23DFC06F-56D9-4E92-9C6D-2A8174617C71}"/>
              </a:ext>
            </a:extLst>
          </p:cNvPr>
          <p:cNvSpPr/>
          <p:nvPr/>
        </p:nvSpPr>
        <p:spPr>
          <a:xfrm>
            <a:off x="349572" y="2854568"/>
            <a:ext cx="1717572" cy="1474440"/>
          </a:xfrm>
          <a:prstGeom prst="hexagon">
            <a:avLst>
              <a:gd name="adj" fmla="val 25000"/>
              <a:gd name="vf" fmla="val 115470"/>
            </a:avLst>
          </a:prstGeom>
          <a:solidFill>
            <a:schemeClr val="bg1">
              <a:lumMod val="95000"/>
            </a:schemeClr>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txBody>
          <a:bodyPr anchor="ctr" anchorCtr="0"/>
          <a:lstStyle/>
          <a:p>
            <a:pPr algn="ctr"/>
            <a:r>
              <a:rPr lang="en-US" sz="1200" b="1" kern="1200">
                <a:latin typeface="Verdana"/>
              </a:rPr>
              <a:t>Robotic</a:t>
            </a:r>
            <a:endParaRPr lang="en-US" sz="1200"/>
          </a:p>
        </p:txBody>
      </p:sp>
      <p:sp>
        <p:nvSpPr>
          <p:cNvPr id="124" name="Freeform: Shape 123">
            <a:extLst>
              <a:ext uri="{FF2B5EF4-FFF2-40B4-BE49-F238E27FC236}">
                <a16:creationId xmlns:a16="http://schemas.microsoft.com/office/drawing/2014/main" id="{80601311-AF2E-6070-BB85-4C5BC97F75DC}"/>
              </a:ext>
            </a:extLst>
          </p:cNvPr>
          <p:cNvSpPr/>
          <p:nvPr/>
        </p:nvSpPr>
        <p:spPr>
          <a:xfrm>
            <a:off x="7248788" y="5103972"/>
            <a:ext cx="1717572" cy="1474440"/>
          </a:xfrm>
          <a:custGeom>
            <a:avLst/>
            <a:gdLst>
              <a:gd name="connsiteX0" fmla="*/ 0 w 1717572"/>
              <a:gd name="connsiteY0" fmla="*/ 737220 h 1474440"/>
              <a:gd name="connsiteX1" fmla="*/ 368610 w 1717572"/>
              <a:gd name="connsiteY1" fmla="*/ 0 h 1474440"/>
              <a:gd name="connsiteX2" fmla="*/ 1348962 w 1717572"/>
              <a:gd name="connsiteY2" fmla="*/ 0 h 1474440"/>
              <a:gd name="connsiteX3" fmla="*/ 1717572 w 1717572"/>
              <a:gd name="connsiteY3" fmla="*/ 737220 h 1474440"/>
              <a:gd name="connsiteX4" fmla="*/ 1348962 w 1717572"/>
              <a:gd name="connsiteY4" fmla="*/ 1474440 h 1474440"/>
              <a:gd name="connsiteX5" fmla="*/ 368610 w 1717572"/>
              <a:gd name="connsiteY5" fmla="*/ 1474440 h 1474440"/>
              <a:gd name="connsiteX6" fmla="*/ 0 w 1717572"/>
              <a:gd name="connsiteY6" fmla="*/ 737220 h 1474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7572" h="1474440">
                <a:moveTo>
                  <a:pt x="0" y="737220"/>
                </a:moveTo>
                <a:lnTo>
                  <a:pt x="368610" y="0"/>
                </a:lnTo>
                <a:lnTo>
                  <a:pt x="1348962" y="0"/>
                </a:lnTo>
                <a:lnTo>
                  <a:pt x="1717572" y="737220"/>
                </a:lnTo>
                <a:lnTo>
                  <a:pt x="1348962" y="1474440"/>
                </a:lnTo>
                <a:lnTo>
                  <a:pt x="368610" y="1474440"/>
                </a:lnTo>
                <a:lnTo>
                  <a:pt x="0" y="737220"/>
                </a:lnTo>
                <a:close/>
              </a:path>
            </a:pathLst>
          </a:custGeom>
          <a:solidFill>
            <a:schemeClr val="bg1">
              <a:lumMod val="95000"/>
            </a:schemeClr>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266001" tIns="239777" rIns="266001" bIns="239777" numCol="1" spcCol="1270" anchor="ctr" anchorCtr="0">
            <a:noAutofit/>
          </a:bodyPr>
          <a:lstStyle/>
          <a:p>
            <a:pPr marL="0" lvl="0" indent="0" algn="ctr" defTabSz="400050" rtl="0">
              <a:lnSpc>
                <a:spcPct val="90000"/>
              </a:lnSpc>
              <a:spcBef>
                <a:spcPct val="0"/>
              </a:spcBef>
              <a:spcAft>
                <a:spcPct val="35000"/>
              </a:spcAft>
              <a:buNone/>
            </a:pPr>
            <a:r>
              <a:rPr lang="en-US" sz="1200" b="1"/>
              <a:t>Ontology</a:t>
            </a:r>
          </a:p>
        </p:txBody>
      </p:sp>
      <p:sp>
        <p:nvSpPr>
          <p:cNvPr id="125" name="Freeform: Shape 124">
            <a:extLst>
              <a:ext uri="{FF2B5EF4-FFF2-40B4-BE49-F238E27FC236}">
                <a16:creationId xmlns:a16="http://schemas.microsoft.com/office/drawing/2014/main" id="{B46CA136-E258-0414-E968-70ADD25CA870}"/>
              </a:ext>
            </a:extLst>
          </p:cNvPr>
          <p:cNvSpPr/>
          <p:nvPr/>
        </p:nvSpPr>
        <p:spPr>
          <a:xfrm>
            <a:off x="7248788" y="580146"/>
            <a:ext cx="1717572" cy="1474440"/>
          </a:xfrm>
          <a:custGeom>
            <a:avLst/>
            <a:gdLst>
              <a:gd name="connsiteX0" fmla="*/ 0 w 1717572"/>
              <a:gd name="connsiteY0" fmla="*/ 737220 h 1474440"/>
              <a:gd name="connsiteX1" fmla="*/ 368610 w 1717572"/>
              <a:gd name="connsiteY1" fmla="*/ 0 h 1474440"/>
              <a:gd name="connsiteX2" fmla="*/ 1348962 w 1717572"/>
              <a:gd name="connsiteY2" fmla="*/ 0 h 1474440"/>
              <a:gd name="connsiteX3" fmla="*/ 1717572 w 1717572"/>
              <a:gd name="connsiteY3" fmla="*/ 737220 h 1474440"/>
              <a:gd name="connsiteX4" fmla="*/ 1348962 w 1717572"/>
              <a:gd name="connsiteY4" fmla="*/ 1474440 h 1474440"/>
              <a:gd name="connsiteX5" fmla="*/ 368610 w 1717572"/>
              <a:gd name="connsiteY5" fmla="*/ 1474440 h 1474440"/>
              <a:gd name="connsiteX6" fmla="*/ 0 w 1717572"/>
              <a:gd name="connsiteY6" fmla="*/ 737220 h 1474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7572" h="1474440">
                <a:moveTo>
                  <a:pt x="0" y="737220"/>
                </a:moveTo>
                <a:lnTo>
                  <a:pt x="368610" y="0"/>
                </a:lnTo>
                <a:lnTo>
                  <a:pt x="1348962" y="0"/>
                </a:lnTo>
                <a:lnTo>
                  <a:pt x="1717572" y="737220"/>
                </a:lnTo>
                <a:lnTo>
                  <a:pt x="1348962" y="1474440"/>
                </a:lnTo>
                <a:lnTo>
                  <a:pt x="368610" y="1474440"/>
                </a:lnTo>
                <a:lnTo>
                  <a:pt x="0" y="737220"/>
                </a:lnTo>
                <a:close/>
              </a:path>
            </a:pathLst>
          </a:custGeom>
          <a:solidFill>
            <a:schemeClr val="accent1"/>
          </a:solid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txBody>
          <a:bodyPr spcFirstLastPara="0" vert="horz" wrap="square" lIns="266001" tIns="239777" rIns="266001" bIns="239777" numCol="1" spcCol="1270" anchor="ctr" anchorCtr="0">
            <a:noAutofit/>
          </a:bodyPr>
          <a:lstStyle/>
          <a:p>
            <a:pPr marL="0" lvl="0" indent="0" algn="ctr" defTabSz="400050" rtl="0">
              <a:lnSpc>
                <a:spcPct val="90000"/>
              </a:lnSpc>
              <a:spcBef>
                <a:spcPct val="0"/>
              </a:spcBef>
              <a:spcAft>
                <a:spcPct val="35000"/>
              </a:spcAft>
              <a:buNone/>
            </a:pPr>
            <a:r>
              <a:rPr lang="fr-FR" sz="1200" b="1" kern="1200"/>
              <a:t>Network</a:t>
            </a:r>
            <a:endParaRPr lang="fr-FR" sz="1200" b="1" i="1" kern="1200"/>
          </a:p>
        </p:txBody>
      </p:sp>
      <p:sp>
        <p:nvSpPr>
          <p:cNvPr id="126" name="Freeform: Shape 125">
            <a:extLst>
              <a:ext uri="{FF2B5EF4-FFF2-40B4-BE49-F238E27FC236}">
                <a16:creationId xmlns:a16="http://schemas.microsoft.com/office/drawing/2014/main" id="{75674010-A2F8-68D3-6BB3-7C0AFAE2C0EF}"/>
              </a:ext>
            </a:extLst>
          </p:cNvPr>
          <p:cNvSpPr/>
          <p:nvPr/>
        </p:nvSpPr>
        <p:spPr>
          <a:xfrm>
            <a:off x="1729546" y="5114404"/>
            <a:ext cx="1717572" cy="1474440"/>
          </a:xfrm>
          <a:custGeom>
            <a:avLst/>
            <a:gdLst>
              <a:gd name="connsiteX0" fmla="*/ 0 w 1717572"/>
              <a:gd name="connsiteY0" fmla="*/ 737220 h 1474440"/>
              <a:gd name="connsiteX1" fmla="*/ 368610 w 1717572"/>
              <a:gd name="connsiteY1" fmla="*/ 0 h 1474440"/>
              <a:gd name="connsiteX2" fmla="*/ 1348962 w 1717572"/>
              <a:gd name="connsiteY2" fmla="*/ 0 h 1474440"/>
              <a:gd name="connsiteX3" fmla="*/ 1717572 w 1717572"/>
              <a:gd name="connsiteY3" fmla="*/ 737220 h 1474440"/>
              <a:gd name="connsiteX4" fmla="*/ 1348962 w 1717572"/>
              <a:gd name="connsiteY4" fmla="*/ 1474440 h 1474440"/>
              <a:gd name="connsiteX5" fmla="*/ 368610 w 1717572"/>
              <a:gd name="connsiteY5" fmla="*/ 1474440 h 1474440"/>
              <a:gd name="connsiteX6" fmla="*/ 0 w 1717572"/>
              <a:gd name="connsiteY6" fmla="*/ 737220 h 1474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7572" h="1474440">
                <a:moveTo>
                  <a:pt x="0" y="737220"/>
                </a:moveTo>
                <a:lnTo>
                  <a:pt x="368610" y="0"/>
                </a:lnTo>
                <a:lnTo>
                  <a:pt x="1348962" y="0"/>
                </a:lnTo>
                <a:lnTo>
                  <a:pt x="1717572" y="737220"/>
                </a:lnTo>
                <a:lnTo>
                  <a:pt x="1348962" y="1474440"/>
                </a:lnTo>
                <a:lnTo>
                  <a:pt x="368610" y="1474440"/>
                </a:lnTo>
                <a:lnTo>
                  <a:pt x="0" y="737220"/>
                </a:lnTo>
                <a:close/>
              </a:path>
            </a:pathLst>
          </a:custGeom>
          <a:solidFill>
            <a:schemeClr val="bg1">
              <a:lumMod val="95000"/>
            </a:schemeClr>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txBody>
          <a:bodyPr spcFirstLastPara="0" vert="horz" wrap="square" lIns="266001" tIns="239777" rIns="266001" bIns="239777" numCol="1" spcCol="1270" anchor="ctr" anchorCtr="0">
            <a:noAutofit/>
          </a:bodyPr>
          <a:lstStyle/>
          <a:p>
            <a:pPr marL="0" lvl="0" indent="0" algn="ctr" defTabSz="400050" rtl="0">
              <a:lnSpc>
                <a:spcPct val="90000"/>
              </a:lnSpc>
              <a:spcBef>
                <a:spcPct val="0"/>
              </a:spcBef>
              <a:spcAft>
                <a:spcPct val="35000"/>
              </a:spcAft>
              <a:buNone/>
            </a:pPr>
            <a:r>
              <a:rPr lang="fr-FR" sz="1200" b="1" kern="1200"/>
              <a:t>Collaboration</a:t>
            </a:r>
            <a:endParaRPr lang="fr-FR" sz="1200" b="1" i="1" kern="1200"/>
          </a:p>
        </p:txBody>
      </p:sp>
    </p:spTree>
    <p:extLst>
      <p:ext uri="{BB962C8B-B14F-4D97-AF65-F5344CB8AC3E}">
        <p14:creationId xmlns:p14="http://schemas.microsoft.com/office/powerpoint/2010/main" val="20738374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hteck 28">
            <a:extLst>
              <a:ext uri="{FF2B5EF4-FFF2-40B4-BE49-F238E27FC236}">
                <a16:creationId xmlns:a16="http://schemas.microsoft.com/office/drawing/2014/main" id="{F94164E1-4517-4163-9DA4-855D00298263}"/>
              </a:ext>
            </a:extLst>
          </p:cNvPr>
          <p:cNvSpPr/>
          <p:nvPr/>
        </p:nvSpPr>
        <p:spPr bwMode="gray">
          <a:xfrm>
            <a:off x="0" y="0"/>
            <a:ext cx="12192000" cy="6858000"/>
          </a:xfrm>
          <a:prstGeom prst="rect">
            <a:avLst/>
          </a:prstGeom>
          <a:solidFill>
            <a:schemeClr val="accent1"/>
          </a:solidFill>
          <a:ln w="9525" cap="flat" cmpd="sng" algn="ctr">
            <a:noFill/>
            <a:prstDash val="solid"/>
          </a:ln>
          <a:effectLst/>
        </p:spPr>
        <p:txBody>
          <a:bodyPr rtlCol="0" anchor="t" anchorCtr="0"/>
          <a:lstStyle/>
          <a:p>
            <a:pPr marL="0" indent="0" algn="ctr">
              <a:spcBef>
                <a:spcPts val="300"/>
              </a:spcBef>
              <a:spcAft>
                <a:spcPts val="300"/>
              </a:spcAft>
              <a:buClr>
                <a:schemeClr val="bg1"/>
              </a:buClr>
              <a:buSzPct val="100000"/>
              <a:buFont typeface="Arial" panose="020B0604020202020204" pitchFamily="34" charset="0"/>
              <a:buNone/>
            </a:pPr>
            <a:endParaRPr lang="en-US" sz="1600" b="1" kern="0">
              <a:solidFill>
                <a:schemeClr val="accent4"/>
              </a:solidFill>
              <a:latin typeface="Verdana"/>
            </a:endParaRPr>
          </a:p>
        </p:txBody>
      </p:sp>
      <p:grpSp>
        <p:nvGrpSpPr>
          <p:cNvPr id="18" name="Group 25"/>
          <p:cNvGrpSpPr/>
          <p:nvPr>
            <p:custDataLst>
              <p:tags r:id="rId2"/>
            </p:custDataLst>
          </p:nvPr>
        </p:nvGrpSpPr>
        <p:grpSpPr bwMode="gray">
          <a:xfrm rot="696608">
            <a:off x="-3506398" y="-2909633"/>
            <a:ext cx="14177963" cy="8174038"/>
            <a:chOff x="-1108075" y="-1724025"/>
            <a:chExt cx="14177963" cy="8174038"/>
          </a:xfrm>
        </p:grpSpPr>
        <p:sp>
          <p:nvSpPr>
            <p:cNvPr id="19" name="Line 26"/>
            <p:cNvSpPr>
              <a:spLocks noChangeShapeType="1"/>
            </p:cNvSpPr>
            <p:nvPr/>
          </p:nvSpPr>
          <p:spPr bwMode="gray">
            <a:xfrm>
              <a:off x="-6350" y="17129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0" name="Line 27"/>
            <p:cNvSpPr>
              <a:spLocks noChangeShapeType="1"/>
            </p:cNvSpPr>
            <p:nvPr/>
          </p:nvSpPr>
          <p:spPr bwMode="gray">
            <a:xfrm>
              <a:off x="-6350" y="17129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1" name="Freeform 28"/>
            <p:cNvSpPr>
              <a:spLocks/>
            </p:cNvSpPr>
            <p:nvPr/>
          </p:nvSpPr>
          <p:spPr bwMode="gray">
            <a:xfrm>
              <a:off x="-1108075" y="-1724025"/>
              <a:ext cx="14177963" cy="8174038"/>
            </a:xfrm>
            <a:custGeom>
              <a:avLst/>
              <a:gdLst>
                <a:gd name="T0" fmla="*/ 311 w 4531"/>
                <a:gd name="T1" fmla="*/ 1166 h 2611"/>
                <a:gd name="T2" fmla="*/ 679 w 4531"/>
                <a:gd name="T3" fmla="*/ 919 h 2611"/>
                <a:gd name="T4" fmla="*/ 1117 w 4531"/>
                <a:gd name="T5" fmla="*/ 889 h 2611"/>
                <a:gd name="T6" fmla="*/ 1521 w 4531"/>
                <a:gd name="T7" fmla="*/ 918 h 2611"/>
                <a:gd name="T8" fmla="*/ 1708 w 4531"/>
                <a:gd name="T9" fmla="*/ 899 h 2611"/>
                <a:gd name="T10" fmla="*/ 2057 w 4531"/>
                <a:gd name="T11" fmla="*/ 737 h 2611"/>
                <a:gd name="T12" fmla="*/ 3019 w 4531"/>
                <a:gd name="T13" fmla="*/ 182 h 2611"/>
                <a:gd name="T14" fmla="*/ 3181 w 4531"/>
                <a:gd name="T15" fmla="*/ 102 h 2611"/>
                <a:gd name="T16" fmla="*/ 3552 w 4531"/>
                <a:gd name="T17" fmla="*/ 1 h 2611"/>
                <a:gd name="T18" fmla="*/ 3656 w 4531"/>
                <a:gd name="T19" fmla="*/ 22 h 2611"/>
                <a:gd name="T20" fmla="*/ 3788 w 4531"/>
                <a:gd name="T21" fmla="*/ 80 h 2611"/>
                <a:gd name="T22" fmla="*/ 4268 w 4531"/>
                <a:gd name="T23" fmla="*/ 537 h 2611"/>
                <a:gd name="T24" fmla="*/ 4509 w 4531"/>
                <a:gd name="T25" fmla="*/ 936 h 2611"/>
                <a:gd name="T26" fmla="*/ 4340 w 4531"/>
                <a:gd name="T27" fmla="*/ 1444 h 2611"/>
                <a:gd name="T28" fmla="*/ 3805 w 4531"/>
                <a:gd name="T29" fmla="*/ 1807 h 2611"/>
                <a:gd name="T30" fmla="*/ 3525 w 4531"/>
                <a:gd name="T31" fmla="*/ 1869 h 2611"/>
                <a:gd name="T32" fmla="*/ 3325 w 4531"/>
                <a:gd name="T33" fmla="*/ 1860 h 2611"/>
                <a:gd name="T34" fmla="*/ 2745 w 4531"/>
                <a:gd name="T35" fmla="*/ 1723 h 2611"/>
                <a:gd name="T36" fmla="*/ 2430 w 4531"/>
                <a:gd name="T37" fmla="*/ 1741 h 2611"/>
                <a:gd name="T38" fmla="*/ 2266 w 4531"/>
                <a:gd name="T39" fmla="*/ 1813 h 2611"/>
                <a:gd name="T40" fmla="*/ 1717 w 4531"/>
                <a:gd name="T41" fmla="*/ 2293 h 2611"/>
                <a:gd name="T42" fmla="*/ 1457 w 4531"/>
                <a:gd name="T43" fmla="*/ 2502 h 2611"/>
                <a:gd name="T44" fmla="*/ 1197 w 4531"/>
                <a:gd name="T45" fmla="*/ 2609 h 2611"/>
                <a:gd name="T46" fmla="*/ 933 w 4531"/>
                <a:gd name="T47" fmla="*/ 2572 h 2611"/>
                <a:gd name="T48" fmla="*/ 289 w 4531"/>
                <a:gd name="T49" fmla="*/ 2251 h 2611"/>
                <a:gd name="T50" fmla="*/ 138 w 4531"/>
                <a:gd name="T51" fmla="*/ 2120 h 2611"/>
                <a:gd name="T52" fmla="*/ 64 w 4531"/>
                <a:gd name="T53" fmla="*/ 2022 h 2611"/>
                <a:gd name="T54" fmla="*/ 11 w 4531"/>
                <a:gd name="T55" fmla="*/ 1895 h 2611"/>
                <a:gd name="T56" fmla="*/ 0 w 4531"/>
                <a:gd name="T57" fmla="*/ 1793 h 2611"/>
                <a:gd name="T58" fmla="*/ 187 w 4531"/>
                <a:gd name="T59" fmla="*/ 1337 h 2611"/>
                <a:gd name="T60" fmla="*/ 121 w 4531"/>
                <a:gd name="T61" fmla="*/ 1677 h 2611"/>
                <a:gd name="T62" fmla="*/ 101 w 4531"/>
                <a:gd name="T63" fmla="*/ 1847 h 2611"/>
                <a:gd name="T64" fmla="*/ 129 w 4531"/>
                <a:gd name="T65" fmla="*/ 1939 h 2611"/>
                <a:gd name="T66" fmla="*/ 168 w 4531"/>
                <a:gd name="T67" fmla="*/ 2004 h 2611"/>
                <a:gd name="T68" fmla="*/ 259 w 4531"/>
                <a:gd name="T69" fmla="*/ 2104 h 2611"/>
                <a:gd name="T70" fmla="*/ 709 w 4531"/>
                <a:gd name="T71" fmla="*/ 2373 h 2611"/>
                <a:gd name="T72" fmla="*/ 1109 w 4531"/>
                <a:gd name="T73" fmla="*/ 2512 h 2611"/>
                <a:gd name="T74" fmla="*/ 1339 w 4531"/>
                <a:gd name="T75" fmla="*/ 2457 h 2611"/>
                <a:gd name="T76" fmla="*/ 1570 w 4531"/>
                <a:gd name="T77" fmla="*/ 2292 h 2611"/>
                <a:gd name="T78" fmla="*/ 2078 w 4531"/>
                <a:gd name="T79" fmla="*/ 1833 h 2611"/>
                <a:gd name="T80" fmla="*/ 2254 w 4531"/>
                <a:gd name="T81" fmla="*/ 1707 h 2611"/>
                <a:gd name="T82" fmla="*/ 2597 w 4531"/>
                <a:gd name="T83" fmla="*/ 1613 h 2611"/>
                <a:gd name="T84" fmla="*/ 3158 w 4531"/>
                <a:gd name="T85" fmla="*/ 1726 h 2611"/>
                <a:gd name="T86" fmla="*/ 3376 w 4531"/>
                <a:gd name="T87" fmla="*/ 1768 h 2611"/>
                <a:gd name="T88" fmla="*/ 3669 w 4531"/>
                <a:gd name="T89" fmla="*/ 1749 h 2611"/>
                <a:gd name="T90" fmla="*/ 3868 w 4531"/>
                <a:gd name="T91" fmla="*/ 1672 h 2611"/>
                <a:gd name="T92" fmla="*/ 4418 w 4531"/>
                <a:gd name="T93" fmla="*/ 1171 h 2611"/>
                <a:gd name="T94" fmla="*/ 4397 w 4531"/>
                <a:gd name="T95" fmla="*/ 906 h 2611"/>
                <a:gd name="T96" fmla="*/ 4153 w 4531"/>
                <a:gd name="T97" fmla="*/ 551 h 2611"/>
                <a:gd name="T98" fmla="*/ 3740 w 4531"/>
                <a:gd name="T99" fmla="*/ 165 h 2611"/>
                <a:gd name="T100" fmla="*/ 3560 w 4531"/>
                <a:gd name="T101" fmla="*/ 99 h 2611"/>
                <a:gd name="T102" fmla="*/ 3412 w 4531"/>
                <a:gd name="T103" fmla="*/ 119 h 2611"/>
                <a:gd name="T104" fmla="*/ 3208 w 4531"/>
                <a:gd name="T105" fmla="*/ 196 h 2611"/>
                <a:gd name="T106" fmla="*/ 3013 w 4531"/>
                <a:gd name="T107" fmla="*/ 295 h 2611"/>
                <a:gd name="T108" fmla="*/ 2012 w 4531"/>
                <a:gd name="T109" fmla="*/ 871 h 2611"/>
                <a:gd name="T110" fmla="*/ 1708 w 4531"/>
                <a:gd name="T111" fmla="*/ 999 h 2611"/>
                <a:gd name="T112" fmla="*/ 1585 w 4531"/>
                <a:gd name="T113" fmla="*/ 1011 h 2611"/>
                <a:gd name="T114" fmla="*/ 1493 w 4531"/>
                <a:gd name="T115" fmla="*/ 1017 h 2611"/>
                <a:gd name="T116" fmla="*/ 1017 w 4531"/>
                <a:gd name="T117" fmla="*/ 982 h 2611"/>
                <a:gd name="T118" fmla="*/ 421 w 4531"/>
                <a:gd name="T119" fmla="*/ 1187 h 2611"/>
                <a:gd name="T120" fmla="*/ 286 w 4531"/>
                <a:gd name="T121" fmla="*/ 1363 h 2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531" h="2611">
                  <a:moveTo>
                    <a:pt x="286" y="1363"/>
                  </a:moveTo>
                  <a:cubicBezTo>
                    <a:pt x="205" y="1310"/>
                    <a:pt x="205" y="1310"/>
                    <a:pt x="205" y="1310"/>
                  </a:cubicBezTo>
                  <a:cubicBezTo>
                    <a:pt x="205" y="1310"/>
                    <a:pt x="211" y="1301"/>
                    <a:pt x="223" y="1283"/>
                  </a:cubicBezTo>
                  <a:cubicBezTo>
                    <a:pt x="235" y="1265"/>
                    <a:pt x="253" y="1239"/>
                    <a:pt x="279" y="1206"/>
                  </a:cubicBezTo>
                  <a:cubicBezTo>
                    <a:pt x="285" y="1198"/>
                    <a:pt x="292" y="1189"/>
                    <a:pt x="300" y="1180"/>
                  </a:cubicBezTo>
                  <a:cubicBezTo>
                    <a:pt x="303" y="1175"/>
                    <a:pt x="307" y="1171"/>
                    <a:pt x="311" y="1166"/>
                  </a:cubicBezTo>
                  <a:cubicBezTo>
                    <a:pt x="315" y="1161"/>
                    <a:pt x="319" y="1156"/>
                    <a:pt x="323" y="1151"/>
                  </a:cubicBezTo>
                  <a:cubicBezTo>
                    <a:pt x="332" y="1141"/>
                    <a:pt x="341" y="1131"/>
                    <a:pt x="350" y="1121"/>
                  </a:cubicBezTo>
                  <a:cubicBezTo>
                    <a:pt x="360" y="1111"/>
                    <a:pt x="370" y="1100"/>
                    <a:pt x="382" y="1089"/>
                  </a:cubicBezTo>
                  <a:cubicBezTo>
                    <a:pt x="404" y="1067"/>
                    <a:pt x="429" y="1045"/>
                    <a:pt x="458" y="1023"/>
                  </a:cubicBezTo>
                  <a:cubicBezTo>
                    <a:pt x="487" y="1001"/>
                    <a:pt x="519" y="980"/>
                    <a:pt x="557" y="962"/>
                  </a:cubicBezTo>
                  <a:cubicBezTo>
                    <a:pt x="594" y="944"/>
                    <a:pt x="636" y="930"/>
                    <a:pt x="679" y="919"/>
                  </a:cubicBezTo>
                  <a:cubicBezTo>
                    <a:pt x="722" y="909"/>
                    <a:pt x="768" y="902"/>
                    <a:pt x="814" y="897"/>
                  </a:cubicBezTo>
                  <a:cubicBezTo>
                    <a:pt x="861" y="893"/>
                    <a:pt x="909" y="890"/>
                    <a:pt x="959" y="887"/>
                  </a:cubicBezTo>
                  <a:cubicBezTo>
                    <a:pt x="971" y="887"/>
                    <a:pt x="983" y="886"/>
                    <a:pt x="997" y="886"/>
                  </a:cubicBezTo>
                  <a:cubicBezTo>
                    <a:pt x="1003" y="885"/>
                    <a:pt x="1010" y="885"/>
                    <a:pt x="1017" y="885"/>
                  </a:cubicBezTo>
                  <a:cubicBezTo>
                    <a:pt x="1023" y="885"/>
                    <a:pt x="1030" y="885"/>
                    <a:pt x="1037" y="885"/>
                  </a:cubicBezTo>
                  <a:cubicBezTo>
                    <a:pt x="1064" y="886"/>
                    <a:pt x="1090" y="887"/>
                    <a:pt x="1117" y="889"/>
                  </a:cubicBezTo>
                  <a:cubicBezTo>
                    <a:pt x="1171" y="894"/>
                    <a:pt x="1226" y="901"/>
                    <a:pt x="1281" y="907"/>
                  </a:cubicBezTo>
                  <a:cubicBezTo>
                    <a:pt x="1336" y="913"/>
                    <a:pt x="1392" y="919"/>
                    <a:pt x="1448" y="920"/>
                  </a:cubicBezTo>
                  <a:cubicBezTo>
                    <a:pt x="1455" y="920"/>
                    <a:pt x="1462" y="921"/>
                    <a:pt x="1469" y="921"/>
                  </a:cubicBezTo>
                  <a:cubicBezTo>
                    <a:pt x="1476" y="920"/>
                    <a:pt x="1483" y="920"/>
                    <a:pt x="1490" y="920"/>
                  </a:cubicBezTo>
                  <a:cubicBezTo>
                    <a:pt x="1497" y="920"/>
                    <a:pt x="1504" y="919"/>
                    <a:pt x="1511" y="919"/>
                  </a:cubicBezTo>
                  <a:cubicBezTo>
                    <a:pt x="1521" y="918"/>
                    <a:pt x="1521" y="918"/>
                    <a:pt x="1521" y="918"/>
                  </a:cubicBezTo>
                  <a:cubicBezTo>
                    <a:pt x="1527" y="918"/>
                    <a:pt x="1527" y="918"/>
                    <a:pt x="1527" y="918"/>
                  </a:cubicBezTo>
                  <a:cubicBezTo>
                    <a:pt x="1532" y="918"/>
                    <a:pt x="1532" y="918"/>
                    <a:pt x="1532" y="918"/>
                  </a:cubicBezTo>
                  <a:cubicBezTo>
                    <a:pt x="1540" y="917"/>
                    <a:pt x="1548" y="916"/>
                    <a:pt x="1556" y="916"/>
                  </a:cubicBezTo>
                  <a:cubicBezTo>
                    <a:pt x="1564" y="915"/>
                    <a:pt x="1572" y="915"/>
                    <a:pt x="1579" y="914"/>
                  </a:cubicBezTo>
                  <a:cubicBezTo>
                    <a:pt x="1595" y="913"/>
                    <a:pt x="1610" y="913"/>
                    <a:pt x="1626" y="912"/>
                  </a:cubicBezTo>
                  <a:cubicBezTo>
                    <a:pt x="1655" y="910"/>
                    <a:pt x="1680" y="907"/>
                    <a:pt x="1708" y="899"/>
                  </a:cubicBezTo>
                  <a:cubicBezTo>
                    <a:pt x="1714" y="897"/>
                    <a:pt x="1721" y="895"/>
                    <a:pt x="1728" y="893"/>
                  </a:cubicBezTo>
                  <a:cubicBezTo>
                    <a:pt x="1735" y="890"/>
                    <a:pt x="1742" y="888"/>
                    <a:pt x="1749" y="885"/>
                  </a:cubicBezTo>
                  <a:cubicBezTo>
                    <a:pt x="1763" y="879"/>
                    <a:pt x="1777" y="874"/>
                    <a:pt x="1792" y="868"/>
                  </a:cubicBezTo>
                  <a:cubicBezTo>
                    <a:pt x="1821" y="855"/>
                    <a:pt x="1850" y="842"/>
                    <a:pt x="1879" y="828"/>
                  </a:cubicBezTo>
                  <a:cubicBezTo>
                    <a:pt x="1909" y="814"/>
                    <a:pt x="1939" y="799"/>
                    <a:pt x="1968" y="784"/>
                  </a:cubicBezTo>
                  <a:cubicBezTo>
                    <a:pt x="1997" y="770"/>
                    <a:pt x="2027" y="753"/>
                    <a:pt x="2057" y="737"/>
                  </a:cubicBezTo>
                  <a:cubicBezTo>
                    <a:pt x="2086" y="720"/>
                    <a:pt x="2116" y="704"/>
                    <a:pt x="2146" y="686"/>
                  </a:cubicBezTo>
                  <a:cubicBezTo>
                    <a:pt x="2267" y="617"/>
                    <a:pt x="2391" y="544"/>
                    <a:pt x="2518" y="468"/>
                  </a:cubicBezTo>
                  <a:cubicBezTo>
                    <a:pt x="2646" y="392"/>
                    <a:pt x="2778" y="315"/>
                    <a:pt x="2915" y="239"/>
                  </a:cubicBezTo>
                  <a:cubicBezTo>
                    <a:pt x="2923" y="234"/>
                    <a:pt x="2932" y="229"/>
                    <a:pt x="2940" y="224"/>
                  </a:cubicBezTo>
                  <a:cubicBezTo>
                    <a:pt x="2949" y="220"/>
                    <a:pt x="2958" y="215"/>
                    <a:pt x="2966" y="210"/>
                  </a:cubicBezTo>
                  <a:cubicBezTo>
                    <a:pt x="2984" y="201"/>
                    <a:pt x="3001" y="192"/>
                    <a:pt x="3019" y="182"/>
                  </a:cubicBezTo>
                  <a:cubicBezTo>
                    <a:pt x="3036" y="173"/>
                    <a:pt x="3054" y="164"/>
                    <a:pt x="3072" y="155"/>
                  </a:cubicBezTo>
                  <a:cubicBezTo>
                    <a:pt x="3081" y="150"/>
                    <a:pt x="3090" y="145"/>
                    <a:pt x="3099" y="141"/>
                  </a:cubicBezTo>
                  <a:cubicBezTo>
                    <a:pt x="3108" y="136"/>
                    <a:pt x="3117" y="132"/>
                    <a:pt x="3126" y="128"/>
                  </a:cubicBezTo>
                  <a:cubicBezTo>
                    <a:pt x="3135" y="123"/>
                    <a:pt x="3144" y="119"/>
                    <a:pt x="3154" y="114"/>
                  </a:cubicBezTo>
                  <a:cubicBezTo>
                    <a:pt x="3167" y="108"/>
                    <a:pt x="3167" y="108"/>
                    <a:pt x="3167" y="108"/>
                  </a:cubicBezTo>
                  <a:cubicBezTo>
                    <a:pt x="3181" y="102"/>
                    <a:pt x="3181" y="102"/>
                    <a:pt x="3181" y="102"/>
                  </a:cubicBezTo>
                  <a:cubicBezTo>
                    <a:pt x="3191" y="97"/>
                    <a:pt x="3200" y="93"/>
                    <a:pt x="3210" y="89"/>
                  </a:cubicBezTo>
                  <a:cubicBezTo>
                    <a:pt x="3220" y="85"/>
                    <a:pt x="3229" y="81"/>
                    <a:pt x="3239" y="77"/>
                  </a:cubicBezTo>
                  <a:cubicBezTo>
                    <a:pt x="3277" y="62"/>
                    <a:pt x="3315" y="48"/>
                    <a:pt x="3355" y="35"/>
                  </a:cubicBezTo>
                  <a:cubicBezTo>
                    <a:pt x="3395" y="22"/>
                    <a:pt x="3437" y="11"/>
                    <a:pt x="3482" y="5"/>
                  </a:cubicBezTo>
                  <a:cubicBezTo>
                    <a:pt x="3493" y="3"/>
                    <a:pt x="3505" y="2"/>
                    <a:pt x="3516" y="1"/>
                  </a:cubicBezTo>
                  <a:cubicBezTo>
                    <a:pt x="3528" y="0"/>
                    <a:pt x="3540" y="1"/>
                    <a:pt x="3552" y="1"/>
                  </a:cubicBezTo>
                  <a:cubicBezTo>
                    <a:pt x="3555" y="1"/>
                    <a:pt x="3558" y="1"/>
                    <a:pt x="3561" y="2"/>
                  </a:cubicBezTo>
                  <a:cubicBezTo>
                    <a:pt x="3570" y="3"/>
                    <a:pt x="3570" y="3"/>
                    <a:pt x="3570" y="3"/>
                  </a:cubicBezTo>
                  <a:cubicBezTo>
                    <a:pt x="3587" y="5"/>
                    <a:pt x="3587" y="5"/>
                    <a:pt x="3587" y="5"/>
                  </a:cubicBezTo>
                  <a:cubicBezTo>
                    <a:pt x="3593" y="6"/>
                    <a:pt x="3599" y="7"/>
                    <a:pt x="3605" y="8"/>
                  </a:cubicBezTo>
                  <a:cubicBezTo>
                    <a:pt x="3611" y="9"/>
                    <a:pt x="3617" y="10"/>
                    <a:pt x="3622" y="12"/>
                  </a:cubicBezTo>
                  <a:cubicBezTo>
                    <a:pt x="3634" y="15"/>
                    <a:pt x="3645" y="18"/>
                    <a:pt x="3656" y="22"/>
                  </a:cubicBezTo>
                  <a:cubicBezTo>
                    <a:pt x="3672" y="28"/>
                    <a:pt x="3672" y="28"/>
                    <a:pt x="3672" y="28"/>
                  </a:cubicBezTo>
                  <a:cubicBezTo>
                    <a:pt x="3687" y="34"/>
                    <a:pt x="3687" y="34"/>
                    <a:pt x="3687" y="34"/>
                  </a:cubicBezTo>
                  <a:cubicBezTo>
                    <a:pt x="3707" y="43"/>
                    <a:pt x="3726" y="52"/>
                    <a:pt x="3745" y="60"/>
                  </a:cubicBezTo>
                  <a:cubicBezTo>
                    <a:pt x="3755" y="65"/>
                    <a:pt x="3764" y="69"/>
                    <a:pt x="3773" y="73"/>
                  </a:cubicBezTo>
                  <a:cubicBezTo>
                    <a:pt x="3780" y="76"/>
                    <a:pt x="3780" y="76"/>
                    <a:pt x="3780" y="76"/>
                  </a:cubicBezTo>
                  <a:cubicBezTo>
                    <a:pt x="3788" y="80"/>
                    <a:pt x="3788" y="80"/>
                    <a:pt x="3788" y="80"/>
                  </a:cubicBezTo>
                  <a:cubicBezTo>
                    <a:pt x="3794" y="83"/>
                    <a:pt x="3799" y="85"/>
                    <a:pt x="3804" y="88"/>
                  </a:cubicBezTo>
                  <a:cubicBezTo>
                    <a:pt x="3824" y="99"/>
                    <a:pt x="3844" y="111"/>
                    <a:pt x="3862" y="124"/>
                  </a:cubicBezTo>
                  <a:cubicBezTo>
                    <a:pt x="3899" y="149"/>
                    <a:pt x="3932" y="177"/>
                    <a:pt x="3964" y="206"/>
                  </a:cubicBezTo>
                  <a:cubicBezTo>
                    <a:pt x="3996" y="235"/>
                    <a:pt x="4027" y="266"/>
                    <a:pt x="4057" y="297"/>
                  </a:cubicBezTo>
                  <a:cubicBezTo>
                    <a:pt x="4116" y="359"/>
                    <a:pt x="4172" y="424"/>
                    <a:pt x="4227" y="488"/>
                  </a:cubicBezTo>
                  <a:cubicBezTo>
                    <a:pt x="4241" y="504"/>
                    <a:pt x="4255" y="520"/>
                    <a:pt x="4268" y="537"/>
                  </a:cubicBezTo>
                  <a:cubicBezTo>
                    <a:pt x="4282" y="553"/>
                    <a:pt x="4297" y="569"/>
                    <a:pt x="4311" y="586"/>
                  </a:cubicBezTo>
                  <a:cubicBezTo>
                    <a:pt x="4338" y="620"/>
                    <a:pt x="4366" y="655"/>
                    <a:pt x="4391" y="691"/>
                  </a:cubicBezTo>
                  <a:cubicBezTo>
                    <a:pt x="4404" y="710"/>
                    <a:pt x="4416" y="729"/>
                    <a:pt x="4427" y="748"/>
                  </a:cubicBezTo>
                  <a:cubicBezTo>
                    <a:pt x="4439" y="767"/>
                    <a:pt x="4450" y="787"/>
                    <a:pt x="4460" y="808"/>
                  </a:cubicBezTo>
                  <a:cubicBezTo>
                    <a:pt x="4470" y="828"/>
                    <a:pt x="4479" y="849"/>
                    <a:pt x="4488" y="871"/>
                  </a:cubicBezTo>
                  <a:cubicBezTo>
                    <a:pt x="4496" y="892"/>
                    <a:pt x="4503" y="914"/>
                    <a:pt x="4509" y="936"/>
                  </a:cubicBezTo>
                  <a:cubicBezTo>
                    <a:pt x="4516" y="958"/>
                    <a:pt x="4521" y="981"/>
                    <a:pt x="4525" y="1004"/>
                  </a:cubicBezTo>
                  <a:cubicBezTo>
                    <a:pt x="4529" y="1028"/>
                    <a:pt x="4531" y="1052"/>
                    <a:pt x="4531" y="1076"/>
                  </a:cubicBezTo>
                  <a:cubicBezTo>
                    <a:pt x="4531" y="1125"/>
                    <a:pt x="4522" y="1175"/>
                    <a:pt x="4503" y="1220"/>
                  </a:cubicBezTo>
                  <a:cubicBezTo>
                    <a:pt x="4494" y="1243"/>
                    <a:pt x="4483" y="1265"/>
                    <a:pt x="4470" y="1285"/>
                  </a:cubicBezTo>
                  <a:cubicBezTo>
                    <a:pt x="4458" y="1305"/>
                    <a:pt x="4445" y="1324"/>
                    <a:pt x="4431" y="1343"/>
                  </a:cubicBezTo>
                  <a:cubicBezTo>
                    <a:pt x="4403" y="1379"/>
                    <a:pt x="4372" y="1412"/>
                    <a:pt x="4340" y="1444"/>
                  </a:cubicBezTo>
                  <a:cubicBezTo>
                    <a:pt x="4308" y="1476"/>
                    <a:pt x="4275" y="1505"/>
                    <a:pt x="4241" y="1534"/>
                  </a:cubicBezTo>
                  <a:cubicBezTo>
                    <a:pt x="4208" y="1562"/>
                    <a:pt x="4173" y="1590"/>
                    <a:pt x="4137" y="1616"/>
                  </a:cubicBezTo>
                  <a:cubicBezTo>
                    <a:pt x="4066" y="1668"/>
                    <a:pt x="3992" y="1716"/>
                    <a:pt x="3913" y="1758"/>
                  </a:cubicBezTo>
                  <a:cubicBezTo>
                    <a:pt x="3893" y="1768"/>
                    <a:pt x="3873" y="1778"/>
                    <a:pt x="3853" y="1787"/>
                  </a:cubicBezTo>
                  <a:cubicBezTo>
                    <a:pt x="3842" y="1792"/>
                    <a:pt x="3832" y="1797"/>
                    <a:pt x="3821" y="1801"/>
                  </a:cubicBezTo>
                  <a:cubicBezTo>
                    <a:pt x="3805" y="1807"/>
                    <a:pt x="3805" y="1807"/>
                    <a:pt x="3805" y="1807"/>
                  </a:cubicBezTo>
                  <a:cubicBezTo>
                    <a:pt x="3790" y="1813"/>
                    <a:pt x="3790" y="1813"/>
                    <a:pt x="3790" y="1813"/>
                  </a:cubicBezTo>
                  <a:cubicBezTo>
                    <a:pt x="3769" y="1820"/>
                    <a:pt x="3748" y="1827"/>
                    <a:pt x="3726" y="1834"/>
                  </a:cubicBezTo>
                  <a:cubicBezTo>
                    <a:pt x="3715" y="1837"/>
                    <a:pt x="3704" y="1840"/>
                    <a:pt x="3693" y="1843"/>
                  </a:cubicBezTo>
                  <a:cubicBezTo>
                    <a:pt x="3677" y="1847"/>
                    <a:pt x="3677" y="1847"/>
                    <a:pt x="3677" y="1847"/>
                  </a:cubicBezTo>
                  <a:cubicBezTo>
                    <a:pt x="3660" y="1851"/>
                    <a:pt x="3660" y="1851"/>
                    <a:pt x="3660" y="1851"/>
                  </a:cubicBezTo>
                  <a:cubicBezTo>
                    <a:pt x="3616" y="1861"/>
                    <a:pt x="3570" y="1867"/>
                    <a:pt x="3525" y="1869"/>
                  </a:cubicBezTo>
                  <a:cubicBezTo>
                    <a:pt x="3480" y="1871"/>
                    <a:pt x="3436" y="1870"/>
                    <a:pt x="3392" y="1867"/>
                  </a:cubicBezTo>
                  <a:cubicBezTo>
                    <a:pt x="3376" y="1865"/>
                    <a:pt x="3376" y="1865"/>
                    <a:pt x="3376" y="1865"/>
                  </a:cubicBezTo>
                  <a:cubicBezTo>
                    <a:pt x="3368" y="1865"/>
                    <a:pt x="3368" y="1865"/>
                    <a:pt x="3368" y="1865"/>
                  </a:cubicBezTo>
                  <a:cubicBezTo>
                    <a:pt x="3359" y="1864"/>
                    <a:pt x="3359" y="1864"/>
                    <a:pt x="3359" y="1864"/>
                  </a:cubicBezTo>
                  <a:cubicBezTo>
                    <a:pt x="3342" y="1862"/>
                    <a:pt x="3342" y="1862"/>
                    <a:pt x="3342" y="1862"/>
                  </a:cubicBezTo>
                  <a:cubicBezTo>
                    <a:pt x="3337" y="1861"/>
                    <a:pt x="3331" y="1861"/>
                    <a:pt x="3325" y="1860"/>
                  </a:cubicBezTo>
                  <a:cubicBezTo>
                    <a:pt x="3293" y="1855"/>
                    <a:pt x="3293" y="1855"/>
                    <a:pt x="3293" y="1855"/>
                  </a:cubicBezTo>
                  <a:cubicBezTo>
                    <a:pt x="3260" y="1849"/>
                    <a:pt x="3260" y="1849"/>
                    <a:pt x="3260" y="1849"/>
                  </a:cubicBezTo>
                  <a:cubicBezTo>
                    <a:pt x="3218" y="1840"/>
                    <a:pt x="3176" y="1830"/>
                    <a:pt x="3134" y="1820"/>
                  </a:cubicBezTo>
                  <a:cubicBezTo>
                    <a:pt x="3052" y="1799"/>
                    <a:pt x="2971" y="1776"/>
                    <a:pt x="2891" y="1755"/>
                  </a:cubicBezTo>
                  <a:cubicBezTo>
                    <a:pt x="2851" y="1745"/>
                    <a:pt x="2812" y="1735"/>
                    <a:pt x="2773" y="1728"/>
                  </a:cubicBezTo>
                  <a:cubicBezTo>
                    <a:pt x="2764" y="1726"/>
                    <a:pt x="2754" y="1725"/>
                    <a:pt x="2745" y="1723"/>
                  </a:cubicBezTo>
                  <a:cubicBezTo>
                    <a:pt x="2735" y="1722"/>
                    <a:pt x="2725" y="1720"/>
                    <a:pt x="2715" y="1719"/>
                  </a:cubicBezTo>
                  <a:cubicBezTo>
                    <a:pt x="2695" y="1716"/>
                    <a:pt x="2675" y="1714"/>
                    <a:pt x="2656" y="1712"/>
                  </a:cubicBezTo>
                  <a:cubicBezTo>
                    <a:pt x="2636" y="1711"/>
                    <a:pt x="2617" y="1710"/>
                    <a:pt x="2599" y="1710"/>
                  </a:cubicBezTo>
                  <a:cubicBezTo>
                    <a:pt x="2580" y="1710"/>
                    <a:pt x="2563" y="1712"/>
                    <a:pt x="2545" y="1715"/>
                  </a:cubicBezTo>
                  <a:cubicBezTo>
                    <a:pt x="2526" y="1718"/>
                    <a:pt x="2508" y="1722"/>
                    <a:pt x="2489" y="1726"/>
                  </a:cubicBezTo>
                  <a:cubicBezTo>
                    <a:pt x="2469" y="1731"/>
                    <a:pt x="2450" y="1736"/>
                    <a:pt x="2430" y="1741"/>
                  </a:cubicBezTo>
                  <a:cubicBezTo>
                    <a:pt x="2411" y="1746"/>
                    <a:pt x="2393" y="1751"/>
                    <a:pt x="2376" y="1757"/>
                  </a:cubicBezTo>
                  <a:cubicBezTo>
                    <a:pt x="2359" y="1763"/>
                    <a:pt x="2343" y="1770"/>
                    <a:pt x="2326" y="1778"/>
                  </a:cubicBezTo>
                  <a:cubicBezTo>
                    <a:pt x="2318" y="1782"/>
                    <a:pt x="2310" y="1787"/>
                    <a:pt x="2302" y="1791"/>
                  </a:cubicBezTo>
                  <a:cubicBezTo>
                    <a:pt x="2290" y="1798"/>
                    <a:pt x="2290" y="1798"/>
                    <a:pt x="2290" y="1798"/>
                  </a:cubicBezTo>
                  <a:cubicBezTo>
                    <a:pt x="2286" y="1800"/>
                    <a:pt x="2282" y="1803"/>
                    <a:pt x="2278" y="1805"/>
                  </a:cubicBezTo>
                  <a:cubicBezTo>
                    <a:pt x="2266" y="1813"/>
                    <a:pt x="2266" y="1813"/>
                    <a:pt x="2266" y="1813"/>
                  </a:cubicBezTo>
                  <a:cubicBezTo>
                    <a:pt x="2254" y="1821"/>
                    <a:pt x="2254" y="1821"/>
                    <a:pt x="2254" y="1821"/>
                  </a:cubicBezTo>
                  <a:cubicBezTo>
                    <a:pt x="2246" y="1826"/>
                    <a:pt x="2239" y="1831"/>
                    <a:pt x="2231" y="1837"/>
                  </a:cubicBezTo>
                  <a:cubicBezTo>
                    <a:pt x="2199" y="1859"/>
                    <a:pt x="2170" y="1882"/>
                    <a:pt x="2140" y="1907"/>
                  </a:cubicBezTo>
                  <a:cubicBezTo>
                    <a:pt x="2111" y="1932"/>
                    <a:pt x="2082" y="1958"/>
                    <a:pt x="2053" y="1983"/>
                  </a:cubicBezTo>
                  <a:cubicBezTo>
                    <a:pt x="1996" y="2035"/>
                    <a:pt x="1940" y="2088"/>
                    <a:pt x="1884" y="2139"/>
                  </a:cubicBezTo>
                  <a:cubicBezTo>
                    <a:pt x="1828" y="2191"/>
                    <a:pt x="1774" y="2243"/>
                    <a:pt x="1717" y="2293"/>
                  </a:cubicBezTo>
                  <a:cubicBezTo>
                    <a:pt x="1710" y="2299"/>
                    <a:pt x="1703" y="2306"/>
                    <a:pt x="1696" y="2312"/>
                  </a:cubicBezTo>
                  <a:cubicBezTo>
                    <a:pt x="1689" y="2318"/>
                    <a:pt x="1682" y="2324"/>
                    <a:pt x="1675" y="2330"/>
                  </a:cubicBezTo>
                  <a:cubicBezTo>
                    <a:pt x="1661" y="2342"/>
                    <a:pt x="1647" y="2354"/>
                    <a:pt x="1633" y="2366"/>
                  </a:cubicBezTo>
                  <a:cubicBezTo>
                    <a:pt x="1605" y="2390"/>
                    <a:pt x="1577" y="2413"/>
                    <a:pt x="1548" y="2436"/>
                  </a:cubicBezTo>
                  <a:cubicBezTo>
                    <a:pt x="1533" y="2448"/>
                    <a:pt x="1519" y="2459"/>
                    <a:pt x="1504" y="2470"/>
                  </a:cubicBezTo>
                  <a:cubicBezTo>
                    <a:pt x="1488" y="2482"/>
                    <a:pt x="1473" y="2492"/>
                    <a:pt x="1457" y="2502"/>
                  </a:cubicBezTo>
                  <a:cubicBezTo>
                    <a:pt x="1440" y="2513"/>
                    <a:pt x="1424" y="2522"/>
                    <a:pt x="1408" y="2531"/>
                  </a:cubicBezTo>
                  <a:cubicBezTo>
                    <a:pt x="1395" y="2537"/>
                    <a:pt x="1395" y="2537"/>
                    <a:pt x="1395" y="2537"/>
                  </a:cubicBezTo>
                  <a:cubicBezTo>
                    <a:pt x="1384" y="2543"/>
                    <a:pt x="1384" y="2543"/>
                    <a:pt x="1384" y="2543"/>
                  </a:cubicBezTo>
                  <a:cubicBezTo>
                    <a:pt x="1376" y="2547"/>
                    <a:pt x="1368" y="2551"/>
                    <a:pt x="1360" y="2555"/>
                  </a:cubicBezTo>
                  <a:cubicBezTo>
                    <a:pt x="1328" y="2571"/>
                    <a:pt x="1293" y="2587"/>
                    <a:pt x="1255" y="2598"/>
                  </a:cubicBezTo>
                  <a:cubicBezTo>
                    <a:pt x="1236" y="2603"/>
                    <a:pt x="1217" y="2607"/>
                    <a:pt x="1197" y="2609"/>
                  </a:cubicBezTo>
                  <a:cubicBezTo>
                    <a:pt x="1178" y="2611"/>
                    <a:pt x="1159" y="2611"/>
                    <a:pt x="1140" y="2611"/>
                  </a:cubicBezTo>
                  <a:cubicBezTo>
                    <a:pt x="1130" y="2611"/>
                    <a:pt x="1121" y="2610"/>
                    <a:pt x="1112" y="2609"/>
                  </a:cubicBezTo>
                  <a:cubicBezTo>
                    <a:pt x="1098" y="2608"/>
                    <a:pt x="1098" y="2608"/>
                    <a:pt x="1098" y="2608"/>
                  </a:cubicBezTo>
                  <a:cubicBezTo>
                    <a:pt x="1085" y="2607"/>
                    <a:pt x="1085" y="2607"/>
                    <a:pt x="1085" y="2607"/>
                  </a:cubicBezTo>
                  <a:cubicBezTo>
                    <a:pt x="1067" y="2604"/>
                    <a:pt x="1050" y="2601"/>
                    <a:pt x="1032" y="2598"/>
                  </a:cubicBezTo>
                  <a:cubicBezTo>
                    <a:pt x="998" y="2591"/>
                    <a:pt x="965" y="2582"/>
                    <a:pt x="933" y="2572"/>
                  </a:cubicBezTo>
                  <a:cubicBezTo>
                    <a:pt x="868" y="2551"/>
                    <a:pt x="808" y="2526"/>
                    <a:pt x="750" y="2500"/>
                  </a:cubicBezTo>
                  <a:cubicBezTo>
                    <a:pt x="736" y="2493"/>
                    <a:pt x="722" y="2486"/>
                    <a:pt x="708" y="2480"/>
                  </a:cubicBezTo>
                  <a:cubicBezTo>
                    <a:pt x="694" y="2473"/>
                    <a:pt x="680" y="2467"/>
                    <a:pt x="667" y="2460"/>
                  </a:cubicBezTo>
                  <a:cubicBezTo>
                    <a:pt x="639" y="2447"/>
                    <a:pt x="612" y="2434"/>
                    <a:pt x="585" y="2420"/>
                  </a:cubicBezTo>
                  <a:cubicBezTo>
                    <a:pt x="532" y="2393"/>
                    <a:pt x="481" y="2366"/>
                    <a:pt x="431" y="2338"/>
                  </a:cubicBezTo>
                  <a:cubicBezTo>
                    <a:pt x="382" y="2310"/>
                    <a:pt x="334" y="2282"/>
                    <a:pt x="289" y="2251"/>
                  </a:cubicBezTo>
                  <a:cubicBezTo>
                    <a:pt x="266" y="2235"/>
                    <a:pt x="244" y="2219"/>
                    <a:pt x="223" y="2202"/>
                  </a:cubicBezTo>
                  <a:cubicBezTo>
                    <a:pt x="218" y="2198"/>
                    <a:pt x="213" y="2193"/>
                    <a:pt x="208" y="2189"/>
                  </a:cubicBezTo>
                  <a:cubicBezTo>
                    <a:pt x="203" y="2184"/>
                    <a:pt x="197" y="2179"/>
                    <a:pt x="192" y="2175"/>
                  </a:cubicBezTo>
                  <a:cubicBezTo>
                    <a:pt x="183" y="2166"/>
                    <a:pt x="173" y="2157"/>
                    <a:pt x="165" y="2148"/>
                  </a:cubicBezTo>
                  <a:cubicBezTo>
                    <a:pt x="160" y="2143"/>
                    <a:pt x="155" y="2139"/>
                    <a:pt x="151" y="2134"/>
                  </a:cubicBezTo>
                  <a:cubicBezTo>
                    <a:pt x="147" y="2129"/>
                    <a:pt x="142" y="2124"/>
                    <a:pt x="138" y="2120"/>
                  </a:cubicBezTo>
                  <a:cubicBezTo>
                    <a:pt x="129" y="2110"/>
                    <a:pt x="121" y="2100"/>
                    <a:pt x="113" y="2091"/>
                  </a:cubicBezTo>
                  <a:cubicBezTo>
                    <a:pt x="109" y="2086"/>
                    <a:pt x="105" y="2081"/>
                    <a:pt x="101" y="2076"/>
                  </a:cubicBezTo>
                  <a:cubicBezTo>
                    <a:pt x="97" y="2071"/>
                    <a:pt x="93" y="2066"/>
                    <a:pt x="90" y="2061"/>
                  </a:cubicBezTo>
                  <a:cubicBezTo>
                    <a:pt x="86" y="2056"/>
                    <a:pt x="82" y="2050"/>
                    <a:pt x="79" y="2045"/>
                  </a:cubicBezTo>
                  <a:cubicBezTo>
                    <a:pt x="75" y="2040"/>
                    <a:pt x="72" y="2035"/>
                    <a:pt x="69" y="2029"/>
                  </a:cubicBezTo>
                  <a:cubicBezTo>
                    <a:pt x="67" y="2027"/>
                    <a:pt x="65" y="2024"/>
                    <a:pt x="64" y="2022"/>
                  </a:cubicBezTo>
                  <a:cubicBezTo>
                    <a:pt x="62" y="2019"/>
                    <a:pt x="60" y="2016"/>
                    <a:pt x="59" y="2013"/>
                  </a:cubicBezTo>
                  <a:cubicBezTo>
                    <a:pt x="56" y="2008"/>
                    <a:pt x="53" y="2003"/>
                    <a:pt x="50" y="1997"/>
                  </a:cubicBezTo>
                  <a:cubicBezTo>
                    <a:pt x="47" y="1992"/>
                    <a:pt x="44" y="1986"/>
                    <a:pt x="41" y="1980"/>
                  </a:cubicBezTo>
                  <a:cubicBezTo>
                    <a:pt x="40" y="1978"/>
                    <a:pt x="39" y="1975"/>
                    <a:pt x="37" y="1972"/>
                  </a:cubicBezTo>
                  <a:cubicBezTo>
                    <a:pt x="36" y="1969"/>
                    <a:pt x="35" y="1967"/>
                    <a:pt x="34" y="1964"/>
                  </a:cubicBezTo>
                  <a:cubicBezTo>
                    <a:pt x="24" y="1941"/>
                    <a:pt x="17" y="1918"/>
                    <a:pt x="11" y="1895"/>
                  </a:cubicBezTo>
                  <a:cubicBezTo>
                    <a:pt x="10" y="1889"/>
                    <a:pt x="9" y="1883"/>
                    <a:pt x="8" y="1878"/>
                  </a:cubicBezTo>
                  <a:cubicBezTo>
                    <a:pt x="7" y="1875"/>
                    <a:pt x="6" y="1872"/>
                    <a:pt x="6" y="1869"/>
                  </a:cubicBezTo>
                  <a:cubicBezTo>
                    <a:pt x="6" y="1866"/>
                    <a:pt x="5" y="1863"/>
                    <a:pt x="5" y="1860"/>
                  </a:cubicBezTo>
                  <a:cubicBezTo>
                    <a:pt x="4" y="1855"/>
                    <a:pt x="3" y="1849"/>
                    <a:pt x="2" y="1843"/>
                  </a:cubicBezTo>
                  <a:cubicBezTo>
                    <a:pt x="2" y="1838"/>
                    <a:pt x="2" y="1832"/>
                    <a:pt x="1" y="1826"/>
                  </a:cubicBezTo>
                  <a:cubicBezTo>
                    <a:pt x="0" y="1815"/>
                    <a:pt x="1" y="1804"/>
                    <a:pt x="0" y="1793"/>
                  </a:cubicBezTo>
                  <a:cubicBezTo>
                    <a:pt x="0" y="1788"/>
                    <a:pt x="1" y="1782"/>
                    <a:pt x="1" y="1777"/>
                  </a:cubicBezTo>
                  <a:cubicBezTo>
                    <a:pt x="2" y="1771"/>
                    <a:pt x="2" y="1766"/>
                    <a:pt x="2" y="1760"/>
                  </a:cubicBezTo>
                  <a:cubicBezTo>
                    <a:pt x="7" y="1717"/>
                    <a:pt x="18" y="1680"/>
                    <a:pt x="30" y="1646"/>
                  </a:cubicBezTo>
                  <a:cubicBezTo>
                    <a:pt x="41" y="1612"/>
                    <a:pt x="54" y="1581"/>
                    <a:pt x="67" y="1554"/>
                  </a:cubicBezTo>
                  <a:cubicBezTo>
                    <a:pt x="92" y="1498"/>
                    <a:pt x="117" y="1453"/>
                    <a:pt x="138" y="1418"/>
                  </a:cubicBezTo>
                  <a:cubicBezTo>
                    <a:pt x="159" y="1382"/>
                    <a:pt x="176" y="1355"/>
                    <a:pt x="187" y="1337"/>
                  </a:cubicBezTo>
                  <a:cubicBezTo>
                    <a:pt x="199" y="1319"/>
                    <a:pt x="205" y="1310"/>
                    <a:pt x="205" y="1310"/>
                  </a:cubicBezTo>
                  <a:cubicBezTo>
                    <a:pt x="286" y="1363"/>
                    <a:pt x="286" y="1363"/>
                    <a:pt x="286" y="1363"/>
                  </a:cubicBezTo>
                  <a:cubicBezTo>
                    <a:pt x="286" y="1363"/>
                    <a:pt x="280" y="1372"/>
                    <a:pt x="269" y="1389"/>
                  </a:cubicBezTo>
                  <a:cubicBezTo>
                    <a:pt x="258" y="1407"/>
                    <a:pt x="242" y="1432"/>
                    <a:pt x="222" y="1466"/>
                  </a:cubicBezTo>
                  <a:cubicBezTo>
                    <a:pt x="202" y="1501"/>
                    <a:pt x="178" y="1543"/>
                    <a:pt x="155" y="1594"/>
                  </a:cubicBezTo>
                  <a:cubicBezTo>
                    <a:pt x="143" y="1620"/>
                    <a:pt x="131" y="1647"/>
                    <a:pt x="121" y="1677"/>
                  </a:cubicBezTo>
                  <a:cubicBezTo>
                    <a:pt x="111" y="1707"/>
                    <a:pt x="102" y="1739"/>
                    <a:pt x="99" y="1771"/>
                  </a:cubicBezTo>
                  <a:cubicBezTo>
                    <a:pt x="98" y="1775"/>
                    <a:pt x="98" y="1779"/>
                    <a:pt x="98" y="1783"/>
                  </a:cubicBezTo>
                  <a:cubicBezTo>
                    <a:pt x="98" y="1787"/>
                    <a:pt x="97" y="1791"/>
                    <a:pt x="97" y="1795"/>
                  </a:cubicBezTo>
                  <a:cubicBezTo>
                    <a:pt x="97" y="1803"/>
                    <a:pt x="97" y="1812"/>
                    <a:pt x="98" y="1821"/>
                  </a:cubicBezTo>
                  <a:cubicBezTo>
                    <a:pt x="98" y="1825"/>
                    <a:pt x="99" y="1829"/>
                    <a:pt x="99" y="1834"/>
                  </a:cubicBezTo>
                  <a:cubicBezTo>
                    <a:pt x="99" y="1838"/>
                    <a:pt x="100" y="1842"/>
                    <a:pt x="101" y="1847"/>
                  </a:cubicBezTo>
                  <a:cubicBezTo>
                    <a:pt x="101" y="1853"/>
                    <a:pt x="101" y="1853"/>
                    <a:pt x="101" y="1853"/>
                  </a:cubicBezTo>
                  <a:cubicBezTo>
                    <a:pt x="102" y="1855"/>
                    <a:pt x="102" y="1858"/>
                    <a:pt x="103" y="1860"/>
                  </a:cubicBezTo>
                  <a:cubicBezTo>
                    <a:pt x="104" y="1864"/>
                    <a:pt x="105" y="1868"/>
                    <a:pt x="105" y="1873"/>
                  </a:cubicBezTo>
                  <a:cubicBezTo>
                    <a:pt x="110" y="1890"/>
                    <a:pt x="115" y="1908"/>
                    <a:pt x="123" y="1926"/>
                  </a:cubicBezTo>
                  <a:cubicBezTo>
                    <a:pt x="126" y="1932"/>
                    <a:pt x="126" y="1932"/>
                    <a:pt x="126" y="1932"/>
                  </a:cubicBezTo>
                  <a:cubicBezTo>
                    <a:pt x="127" y="1934"/>
                    <a:pt x="128" y="1937"/>
                    <a:pt x="129" y="1939"/>
                  </a:cubicBezTo>
                  <a:cubicBezTo>
                    <a:pt x="131" y="1943"/>
                    <a:pt x="133" y="1947"/>
                    <a:pt x="135" y="1952"/>
                  </a:cubicBezTo>
                  <a:cubicBezTo>
                    <a:pt x="138" y="1956"/>
                    <a:pt x="140" y="1961"/>
                    <a:pt x="143" y="1965"/>
                  </a:cubicBezTo>
                  <a:cubicBezTo>
                    <a:pt x="146" y="1971"/>
                    <a:pt x="146" y="1971"/>
                    <a:pt x="146" y="1971"/>
                  </a:cubicBezTo>
                  <a:cubicBezTo>
                    <a:pt x="151" y="1978"/>
                    <a:pt x="151" y="1978"/>
                    <a:pt x="151" y="1978"/>
                  </a:cubicBezTo>
                  <a:cubicBezTo>
                    <a:pt x="153" y="1982"/>
                    <a:pt x="156" y="1987"/>
                    <a:pt x="159" y="1991"/>
                  </a:cubicBezTo>
                  <a:cubicBezTo>
                    <a:pt x="162" y="1995"/>
                    <a:pt x="165" y="2000"/>
                    <a:pt x="168" y="2004"/>
                  </a:cubicBezTo>
                  <a:cubicBezTo>
                    <a:pt x="171" y="2008"/>
                    <a:pt x="174" y="2012"/>
                    <a:pt x="178" y="2017"/>
                  </a:cubicBezTo>
                  <a:cubicBezTo>
                    <a:pt x="181" y="2021"/>
                    <a:pt x="184" y="2025"/>
                    <a:pt x="188" y="2029"/>
                  </a:cubicBezTo>
                  <a:cubicBezTo>
                    <a:pt x="195" y="2038"/>
                    <a:pt x="202" y="2046"/>
                    <a:pt x="210" y="2055"/>
                  </a:cubicBezTo>
                  <a:cubicBezTo>
                    <a:pt x="214" y="2059"/>
                    <a:pt x="217" y="2063"/>
                    <a:pt x="221" y="2067"/>
                  </a:cubicBezTo>
                  <a:cubicBezTo>
                    <a:pt x="225" y="2071"/>
                    <a:pt x="229" y="2075"/>
                    <a:pt x="233" y="2080"/>
                  </a:cubicBezTo>
                  <a:cubicBezTo>
                    <a:pt x="241" y="2088"/>
                    <a:pt x="250" y="2096"/>
                    <a:pt x="259" y="2104"/>
                  </a:cubicBezTo>
                  <a:cubicBezTo>
                    <a:pt x="263" y="2108"/>
                    <a:pt x="267" y="2112"/>
                    <a:pt x="272" y="2116"/>
                  </a:cubicBezTo>
                  <a:cubicBezTo>
                    <a:pt x="276" y="2120"/>
                    <a:pt x="280" y="2124"/>
                    <a:pt x="285" y="2127"/>
                  </a:cubicBezTo>
                  <a:cubicBezTo>
                    <a:pt x="303" y="2142"/>
                    <a:pt x="323" y="2157"/>
                    <a:pt x="344" y="2171"/>
                  </a:cubicBezTo>
                  <a:cubicBezTo>
                    <a:pt x="385" y="2200"/>
                    <a:pt x="431" y="2227"/>
                    <a:pt x="479" y="2254"/>
                  </a:cubicBezTo>
                  <a:cubicBezTo>
                    <a:pt x="526" y="2281"/>
                    <a:pt x="577" y="2307"/>
                    <a:pt x="629" y="2334"/>
                  </a:cubicBezTo>
                  <a:cubicBezTo>
                    <a:pt x="655" y="2347"/>
                    <a:pt x="682" y="2360"/>
                    <a:pt x="709" y="2373"/>
                  </a:cubicBezTo>
                  <a:cubicBezTo>
                    <a:pt x="722" y="2379"/>
                    <a:pt x="736" y="2386"/>
                    <a:pt x="749" y="2392"/>
                  </a:cubicBezTo>
                  <a:cubicBezTo>
                    <a:pt x="763" y="2399"/>
                    <a:pt x="777" y="2405"/>
                    <a:pt x="791" y="2412"/>
                  </a:cubicBezTo>
                  <a:cubicBezTo>
                    <a:pt x="846" y="2437"/>
                    <a:pt x="903" y="2461"/>
                    <a:pt x="962" y="2479"/>
                  </a:cubicBezTo>
                  <a:cubicBezTo>
                    <a:pt x="991" y="2489"/>
                    <a:pt x="1021" y="2497"/>
                    <a:pt x="1052" y="2503"/>
                  </a:cubicBezTo>
                  <a:cubicBezTo>
                    <a:pt x="1067" y="2506"/>
                    <a:pt x="1082" y="2509"/>
                    <a:pt x="1097" y="2510"/>
                  </a:cubicBezTo>
                  <a:cubicBezTo>
                    <a:pt x="1109" y="2512"/>
                    <a:pt x="1109" y="2512"/>
                    <a:pt x="1109" y="2512"/>
                  </a:cubicBezTo>
                  <a:cubicBezTo>
                    <a:pt x="1120" y="2513"/>
                    <a:pt x="1120" y="2513"/>
                    <a:pt x="1120" y="2513"/>
                  </a:cubicBezTo>
                  <a:cubicBezTo>
                    <a:pt x="1128" y="2514"/>
                    <a:pt x="1135" y="2514"/>
                    <a:pt x="1143" y="2514"/>
                  </a:cubicBezTo>
                  <a:cubicBezTo>
                    <a:pt x="1157" y="2515"/>
                    <a:pt x="1172" y="2514"/>
                    <a:pt x="1186" y="2513"/>
                  </a:cubicBezTo>
                  <a:cubicBezTo>
                    <a:pt x="1201" y="2511"/>
                    <a:pt x="1215" y="2508"/>
                    <a:pt x="1229" y="2504"/>
                  </a:cubicBezTo>
                  <a:cubicBezTo>
                    <a:pt x="1257" y="2496"/>
                    <a:pt x="1286" y="2484"/>
                    <a:pt x="1316" y="2468"/>
                  </a:cubicBezTo>
                  <a:cubicBezTo>
                    <a:pt x="1324" y="2465"/>
                    <a:pt x="1332" y="2461"/>
                    <a:pt x="1339" y="2457"/>
                  </a:cubicBezTo>
                  <a:cubicBezTo>
                    <a:pt x="1351" y="2451"/>
                    <a:pt x="1351" y="2451"/>
                    <a:pt x="1351" y="2451"/>
                  </a:cubicBezTo>
                  <a:cubicBezTo>
                    <a:pt x="1362" y="2445"/>
                    <a:pt x="1362" y="2445"/>
                    <a:pt x="1362" y="2445"/>
                  </a:cubicBezTo>
                  <a:cubicBezTo>
                    <a:pt x="1377" y="2437"/>
                    <a:pt x="1391" y="2429"/>
                    <a:pt x="1405" y="2420"/>
                  </a:cubicBezTo>
                  <a:cubicBezTo>
                    <a:pt x="1419" y="2412"/>
                    <a:pt x="1433" y="2402"/>
                    <a:pt x="1446" y="2392"/>
                  </a:cubicBezTo>
                  <a:cubicBezTo>
                    <a:pt x="1460" y="2382"/>
                    <a:pt x="1474" y="2372"/>
                    <a:pt x="1487" y="2361"/>
                  </a:cubicBezTo>
                  <a:cubicBezTo>
                    <a:pt x="1515" y="2339"/>
                    <a:pt x="1542" y="2315"/>
                    <a:pt x="1570" y="2292"/>
                  </a:cubicBezTo>
                  <a:cubicBezTo>
                    <a:pt x="1584" y="2280"/>
                    <a:pt x="1598" y="2268"/>
                    <a:pt x="1612" y="2256"/>
                  </a:cubicBezTo>
                  <a:cubicBezTo>
                    <a:pt x="1619" y="2251"/>
                    <a:pt x="1626" y="2245"/>
                    <a:pt x="1633" y="2239"/>
                  </a:cubicBezTo>
                  <a:cubicBezTo>
                    <a:pt x="1639" y="2233"/>
                    <a:pt x="1646" y="2227"/>
                    <a:pt x="1653" y="2221"/>
                  </a:cubicBezTo>
                  <a:cubicBezTo>
                    <a:pt x="1708" y="2172"/>
                    <a:pt x="1762" y="2121"/>
                    <a:pt x="1818" y="2069"/>
                  </a:cubicBezTo>
                  <a:cubicBezTo>
                    <a:pt x="1874" y="2017"/>
                    <a:pt x="1930" y="1964"/>
                    <a:pt x="1988" y="1911"/>
                  </a:cubicBezTo>
                  <a:cubicBezTo>
                    <a:pt x="2018" y="1885"/>
                    <a:pt x="2047" y="1859"/>
                    <a:pt x="2078" y="1833"/>
                  </a:cubicBezTo>
                  <a:cubicBezTo>
                    <a:pt x="2109" y="1807"/>
                    <a:pt x="2141" y="1781"/>
                    <a:pt x="2175" y="1758"/>
                  </a:cubicBezTo>
                  <a:cubicBezTo>
                    <a:pt x="2183" y="1752"/>
                    <a:pt x="2192" y="1746"/>
                    <a:pt x="2200" y="1740"/>
                  </a:cubicBezTo>
                  <a:cubicBezTo>
                    <a:pt x="2213" y="1731"/>
                    <a:pt x="2213" y="1731"/>
                    <a:pt x="2213" y="1731"/>
                  </a:cubicBezTo>
                  <a:cubicBezTo>
                    <a:pt x="2227" y="1723"/>
                    <a:pt x="2227" y="1723"/>
                    <a:pt x="2227" y="1723"/>
                  </a:cubicBezTo>
                  <a:cubicBezTo>
                    <a:pt x="2231" y="1720"/>
                    <a:pt x="2236" y="1717"/>
                    <a:pt x="2241" y="1715"/>
                  </a:cubicBezTo>
                  <a:cubicBezTo>
                    <a:pt x="2254" y="1707"/>
                    <a:pt x="2254" y="1707"/>
                    <a:pt x="2254" y="1707"/>
                  </a:cubicBezTo>
                  <a:cubicBezTo>
                    <a:pt x="2264" y="1701"/>
                    <a:pt x="2273" y="1696"/>
                    <a:pt x="2283" y="1691"/>
                  </a:cubicBezTo>
                  <a:cubicBezTo>
                    <a:pt x="2303" y="1682"/>
                    <a:pt x="2323" y="1673"/>
                    <a:pt x="2344" y="1666"/>
                  </a:cubicBezTo>
                  <a:cubicBezTo>
                    <a:pt x="2365" y="1658"/>
                    <a:pt x="2386" y="1652"/>
                    <a:pt x="2406" y="1647"/>
                  </a:cubicBezTo>
                  <a:cubicBezTo>
                    <a:pt x="2426" y="1642"/>
                    <a:pt x="2446" y="1637"/>
                    <a:pt x="2466" y="1632"/>
                  </a:cubicBezTo>
                  <a:cubicBezTo>
                    <a:pt x="2486" y="1627"/>
                    <a:pt x="2507" y="1623"/>
                    <a:pt x="2530" y="1619"/>
                  </a:cubicBezTo>
                  <a:cubicBezTo>
                    <a:pt x="2552" y="1615"/>
                    <a:pt x="2575" y="1613"/>
                    <a:pt x="2597" y="1613"/>
                  </a:cubicBezTo>
                  <a:cubicBezTo>
                    <a:pt x="2620" y="1613"/>
                    <a:pt x="2642" y="1614"/>
                    <a:pt x="2664" y="1616"/>
                  </a:cubicBezTo>
                  <a:cubicBezTo>
                    <a:pt x="2685" y="1618"/>
                    <a:pt x="2706" y="1620"/>
                    <a:pt x="2727" y="1623"/>
                  </a:cubicBezTo>
                  <a:cubicBezTo>
                    <a:pt x="2738" y="1624"/>
                    <a:pt x="2748" y="1626"/>
                    <a:pt x="2759" y="1627"/>
                  </a:cubicBezTo>
                  <a:cubicBezTo>
                    <a:pt x="2769" y="1629"/>
                    <a:pt x="2780" y="1631"/>
                    <a:pt x="2791" y="1633"/>
                  </a:cubicBezTo>
                  <a:cubicBezTo>
                    <a:pt x="2834" y="1641"/>
                    <a:pt x="2875" y="1651"/>
                    <a:pt x="2915" y="1662"/>
                  </a:cubicBezTo>
                  <a:cubicBezTo>
                    <a:pt x="2997" y="1683"/>
                    <a:pt x="3077" y="1706"/>
                    <a:pt x="3158" y="1726"/>
                  </a:cubicBezTo>
                  <a:cubicBezTo>
                    <a:pt x="3198" y="1736"/>
                    <a:pt x="3239" y="1746"/>
                    <a:pt x="3279" y="1754"/>
                  </a:cubicBezTo>
                  <a:cubicBezTo>
                    <a:pt x="3309" y="1759"/>
                    <a:pt x="3309" y="1759"/>
                    <a:pt x="3309" y="1759"/>
                  </a:cubicBezTo>
                  <a:cubicBezTo>
                    <a:pt x="3339" y="1764"/>
                    <a:pt x="3339" y="1764"/>
                    <a:pt x="3339" y="1764"/>
                  </a:cubicBezTo>
                  <a:cubicBezTo>
                    <a:pt x="3344" y="1765"/>
                    <a:pt x="3349" y="1765"/>
                    <a:pt x="3354" y="1766"/>
                  </a:cubicBezTo>
                  <a:cubicBezTo>
                    <a:pt x="3368" y="1767"/>
                    <a:pt x="3368" y="1767"/>
                    <a:pt x="3368" y="1767"/>
                  </a:cubicBezTo>
                  <a:cubicBezTo>
                    <a:pt x="3376" y="1768"/>
                    <a:pt x="3376" y="1768"/>
                    <a:pt x="3376" y="1768"/>
                  </a:cubicBezTo>
                  <a:cubicBezTo>
                    <a:pt x="3383" y="1769"/>
                    <a:pt x="3383" y="1769"/>
                    <a:pt x="3383" y="1769"/>
                  </a:cubicBezTo>
                  <a:cubicBezTo>
                    <a:pt x="3399" y="1770"/>
                    <a:pt x="3399" y="1770"/>
                    <a:pt x="3399" y="1770"/>
                  </a:cubicBezTo>
                  <a:cubicBezTo>
                    <a:pt x="3440" y="1773"/>
                    <a:pt x="3481" y="1774"/>
                    <a:pt x="3521" y="1772"/>
                  </a:cubicBezTo>
                  <a:cubicBezTo>
                    <a:pt x="3561" y="1770"/>
                    <a:pt x="3601" y="1765"/>
                    <a:pt x="3640" y="1757"/>
                  </a:cubicBezTo>
                  <a:cubicBezTo>
                    <a:pt x="3654" y="1753"/>
                    <a:pt x="3654" y="1753"/>
                    <a:pt x="3654" y="1753"/>
                  </a:cubicBezTo>
                  <a:cubicBezTo>
                    <a:pt x="3669" y="1749"/>
                    <a:pt x="3669" y="1749"/>
                    <a:pt x="3669" y="1749"/>
                  </a:cubicBezTo>
                  <a:cubicBezTo>
                    <a:pt x="3679" y="1747"/>
                    <a:pt x="3688" y="1744"/>
                    <a:pt x="3698" y="1741"/>
                  </a:cubicBezTo>
                  <a:cubicBezTo>
                    <a:pt x="3718" y="1735"/>
                    <a:pt x="3737" y="1729"/>
                    <a:pt x="3757" y="1722"/>
                  </a:cubicBezTo>
                  <a:cubicBezTo>
                    <a:pt x="3771" y="1716"/>
                    <a:pt x="3771" y="1716"/>
                    <a:pt x="3771" y="1716"/>
                  </a:cubicBezTo>
                  <a:cubicBezTo>
                    <a:pt x="3785" y="1711"/>
                    <a:pt x="3785" y="1711"/>
                    <a:pt x="3785" y="1711"/>
                  </a:cubicBezTo>
                  <a:cubicBezTo>
                    <a:pt x="3794" y="1707"/>
                    <a:pt x="3804" y="1703"/>
                    <a:pt x="3813" y="1699"/>
                  </a:cubicBezTo>
                  <a:cubicBezTo>
                    <a:pt x="3832" y="1691"/>
                    <a:pt x="3850" y="1682"/>
                    <a:pt x="3868" y="1672"/>
                  </a:cubicBezTo>
                  <a:cubicBezTo>
                    <a:pt x="3941" y="1634"/>
                    <a:pt x="4012" y="1588"/>
                    <a:pt x="4080" y="1538"/>
                  </a:cubicBezTo>
                  <a:cubicBezTo>
                    <a:pt x="4114" y="1513"/>
                    <a:pt x="4147" y="1487"/>
                    <a:pt x="4179" y="1460"/>
                  </a:cubicBezTo>
                  <a:cubicBezTo>
                    <a:pt x="4211" y="1433"/>
                    <a:pt x="4243" y="1405"/>
                    <a:pt x="4272" y="1375"/>
                  </a:cubicBezTo>
                  <a:cubicBezTo>
                    <a:pt x="4301" y="1346"/>
                    <a:pt x="4329" y="1316"/>
                    <a:pt x="4354" y="1284"/>
                  </a:cubicBezTo>
                  <a:cubicBezTo>
                    <a:pt x="4378" y="1252"/>
                    <a:pt x="4399" y="1218"/>
                    <a:pt x="4413" y="1184"/>
                  </a:cubicBezTo>
                  <a:cubicBezTo>
                    <a:pt x="4415" y="1180"/>
                    <a:pt x="4417" y="1176"/>
                    <a:pt x="4418" y="1171"/>
                  </a:cubicBezTo>
                  <a:cubicBezTo>
                    <a:pt x="4423" y="1158"/>
                    <a:pt x="4423" y="1158"/>
                    <a:pt x="4423" y="1158"/>
                  </a:cubicBezTo>
                  <a:cubicBezTo>
                    <a:pt x="4426" y="1145"/>
                    <a:pt x="4426" y="1145"/>
                    <a:pt x="4426" y="1145"/>
                  </a:cubicBezTo>
                  <a:cubicBezTo>
                    <a:pt x="4427" y="1140"/>
                    <a:pt x="4428" y="1136"/>
                    <a:pt x="4429" y="1131"/>
                  </a:cubicBezTo>
                  <a:cubicBezTo>
                    <a:pt x="4433" y="1113"/>
                    <a:pt x="4434" y="1095"/>
                    <a:pt x="4434" y="1076"/>
                  </a:cubicBezTo>
                  <a:cubicBezTo>
                    <a:pt x="4435" y="1039"/>
                    <a:pt x="4427" y="1001"/>
                    <a:pt x="4416" y="963"/>
                  </a:cubicBezTo>
                  <a:cubicBezTo>
                    <a:pt x="4411" y="943"/>
                    <a:pt x="4404" y="924"/>
                    <a:pt x="4397" y="906"/>
                  </a:cubicBezTo>
                  <a:cubicBezTo>
                    <a:pt x="4390" y="887"/>
                    <a:pt x="4382" y="869"/>
                    <a:pt x="4373" y="851"/>
                  </a:cubicBezTo>
                  <a:cubicBezTo>
                    <a:pt x="4364" y="833"/>
                    <a:pt x="4354" y="815"/>
                    <a:pt x="4344" y="798"/>
                  </a:cubicBezTo>
                  <a:cubicBezTo>
                    <a:pt x="4334" y="780"/>
                    <a:pt x="4323" y="763"/>
                    <a:pt x="4311" y="746"/>
                  </a:cubicBezTo>
                  <a:cubicBezTo>
                    <a:pt x="4288" y="713"/>
                    <a:pt x="4263" y="680"/>
                    <a:pt x="4236" y="648"/>
                  </a:cubicBezTo>
                  <a:cubicBezTo>
                    <a:pt x="4223" y="632"/>
                    <a:pt x="4209" y="616"/>
                    <a:pt x="4195" y="600"/>
                  </a:cubicBezTo>
                  <a:cubicBezTo>
                    <a:pt x="4181" y="584"/>
                    <a:pt x="4167" y="568"/>
                    <a:pt x="4153" y="551"/>
                  </a:cubicBezTo>
                  <a:cubicBezTo>
                    <a:pt x="4098" y="487"/>
                    <a:pt x="4044" y="423"/>
                    <a:pt x="3987" y="364"/>
                  </a:cubicBezTo>
                  <a:cubicBezTo>
                    <a:pt x="3958" y="334"/>
                    <a:pt x="3929" y="305"/>
                    <a:pt x="3899" y="278"/>
                  </a:cubicBezTo>
                  <a:cubicBezTo>
                    <a:pt x="3869" y="251"/>
                    <a:pt x="3839" y="225"/>
                    <a:pt x="3807" y="203"/>
                  </a:cubicBezTo>
                  <a:cubicBezTo>
                    <a:pt x="3791" y="192"/>
                    <a:pt x="3775" y="182"/>
                    <a:pt x="3759" y="174"/>
                  </a:cubicBezTo>
                  <a:cubicBezTo>
                    <a:pt x="3755" y="171"/>
                    <a:pt x="3751" y="169"/>
                    <a:pt x="3746" y="168"/>
                  </a:cubicBezTo>
                  <a:cubicBezTo>
                    <a:pt x="3740" y="165"/>
                    <a:pt x="3740" y="165"/>
                    <a:pt x="3740" y="165"/>
                  </a:cubicBezTo>
                  <a:cubicBezTo>
                    <a:pt x="3733" y="161"/>
                    <a:pt x="3733" y="161"/>
                    <a:pt x="3733" y="161"/>
                  </a:cubicBezTo>
                  <a:cubicBezTo>
                    <a:pt x="3724" y="157"/>
                    <a:pt x="3714" y="153"/>
                    <a:pt x="3705" y="148"/>
                  </a:cubicBezTo>
                  <a:cubicBezTo>
                    <a:pt x="3667" y="131"/>
                    <a:pt x="3632" y="115"/>
                    <a:pt x="3598" y="106"/>
                  </a:cubicBezTo>
                  <a:cubicBezTo>
                    <a:pt x="3594" y="104"/>
                    <a:pt x="3590" y="104"/>
                    <a:pt x="3585" y="103"/>
                  </a:cubicBezTo>
                  <a:cubicBezTo>
                    <a:pt x="3581" y="102"/>
                    <a:pt x="3577" y="101"/>
                    <a:pt x="3573" y="100"/>
                  </a:cubicBezTo>
                  <a:cubicBezTo>
                    <a:pt x="3560" y="99"/>
                    <a:pt x="3560" y="99"/>
                    <a:pt x="3560" y="99"/>
                  </a:cubicBezTo>
                  <a:cubicBezTo>
                    <a:pt x="3554" y="98"/>
                    <a:pt x="3554" y="98"/>
                    <a:pt x="3554" y="98"/>
                  </a:cubicBezTo>
                  <a:cubicBezTo>
                    <a:pt x="3552" y="98"/>
                    <a:pt x="3549" y="98"/>
                    <a:pt x="3547" y="98"/>
                  </a:cubicBezTo>
                  <a:cubicBezTo>
                    <a:pt x="3539" y="98"/>
                    <a:pt x="3530" y="97"/>
                    <a:pt x="3521" y="98"/>
                  </a:cubicBezTo>
                  <a:cubicBezTo>
                    <a:pt x="3512" y="99"/>
                    <a:pt x="3504" y="99"/>
                    <a:pt x="3495" y="101"/>
                  </a:cubicBezTo>
                  <a:cubicBezTo>
                    <a:pt x="3477" y="103"/>
                    <a:pt x="3458" y="107"/>
                    <a:pt x="3440" y="111"/>
                  </a:cubicBezTo>
                  <a:cubicBezTo>
                    <a:pt x="3431" y="114"/>
                    <a:pt x="3422" y="116"/>
                    <a:pt x="3412" y="119"/>
                  </a:cubicBezTo>
                  <a:cubicBezTo>
                    <a:pt x="3408" y="120"/>
                    <a:pt x="3403" y="121"/>
                    <a:pt x="3399" y="123"/>
                  </a:cubicBezTo>
                  <a:cubicBezTo>
                    <a:pt x="3385" y="127"/>
                    <a:pt x="3385" y="127"/>
                    <a:pt x="3385" y="127"/>
                  </a:cubicBezTo>
                  <a:cubicBezTo>
                    <a:pt x="3348" y="139"/>
                    <a:pt x="3311" y="153"/>
                    <a:pt x="3274" y="167"/>
                  </a:cubicBezTo>
                  <a:cubicBezTo>
                    <a:pt x="3265" y="171"/>
                    <a:pt x="3256" y="175"/>
                    <a:pt x="3248" y="179"/>
                  </a:cubicBezTo>
                  <a:cubicBezTo>
                    <a:pt x="3239" y="182"/>
                    <a:pt x="3230" y="186"/>
                    <a:pt x="3221" y="190"/>
                  </a:cubicBezTo>
                  <a:cubicBezTo>
                    <a:pt x="3208" y="196"/>
                    <a:pt x="3208" y="196"/>
                    <a:pt x="3208" y="196"/>
                  </a:cubicBezTo>
                  <a:cubicBezTo>
                    <a:pt x="3195" y="202"/>
                    <a:pt x="3195" y="202"/>
                    <a:pt x="3195" y="202"/>
                  </a:cubicBezTo>
                  <a:cubicBezTo>
                    <a:pt x="3186" y="206"/>
                    <a:pt x="3177" y="211"/>
                    <a:pt x="3168" y="215"/>
                  </a:cubicBezTo>
                  <a:cubicBezTo>
                    <a:pt x="3160" y="219"/>
                    <a:pt x="3151" y="223"/>
                    <a:pt x="3142" y="227"/>
                  </a:cubicBezTo>
                  <a:cubicBezTo>
                    <a:pt x="3133" y="232"/>
                    <a:pt x="3125" y="236"/>
                    <a:pt x="3116" y="241"/>
                  </a:cubicBezTo>
                  <a:cubicBezTo>
                    <a:pt x="3099" y="250"/>
                    <a:pt x="3081" y="259"/>
                    <a:pt x="3064" y="268"/>
                  </a:cubicBezTo>
                  <a:cubicBezTo>
                    <a:pt x="3047" y="277"/>
                    <a:pt x="3030" y="286"/>
                    <a:pt x="3013" y="295"/>
                  </a:cubicBezTo>
                  <a:cubicBezTo>
                    <a:pt x="3004" y="300"/>
                    <a:pt x="2996" y="305"/>
                    <a:pt x="2987" y="309"/>
                  </a:cubicBezTo>
                  <a:cubicBezTo>
                    <a:pt x="2979" y="314"/>
                    <a:pt x="2970" y="319"/>
                    <a:pt x="2962" y="323"/>
                  </a:cubicBezTo>
                  <a:cubicBezTo>
                    <a:pt x="2826" y="399"/>
                    <a:pt x="2695" y="476"/>
                    <a:pt x="2568" y="551"/>
                  </a:cubicBezTo>
                  <a:cubicBezTo>
                    <a:pt x="2440" y="627"/>
                    <a:pt x="2316" y="701"/>
                    <a:pt x="2194" y="771"/>
                  </a:cubicBezTo>
                  <a:cubicBezTo>
                    <a:pt x="2164" y="788"/>
                    <a:pt x="2134" y="805"/>
                    <a:pt x="2103" y="822"/>
                  </a:cubicBezTo>
                  <a:cubicBezTo>
                    <a:pt x="2073" y="838"/>
                    <a:pt x="2043" y="855"/>
                    <a:pt x="2012" y="871"/>
                  </a:cubicBezTo>
                  <a:cubicBezTo>
                    <a:pt x="1981" y="887"/>
                    <a:pt x="1951" y="901"/>
                    <a:pt x="1921" y="915"/>
                  </a:cubicBezTo>
                  <a:cubicBezTo>
                    <a:pt x="1891" y="930"/>
                    <a:pt x="1861" y="944"/>
                    <a:pt x="1830" y="957"/>
                  </a:cubicBezTo>
                  <a:cubicBezTo>
                    <a:pt x="1815" y="963"/>
                    <a:pt x="1799" y="970"/>
                    <a:pt x="1783" y="976"/>
                  </a:cubicBezTo>
                  <a:cubicBezTo>
                    <a:pt x="1775" y="979"/>
                    <a:pt x="1767" y="981"/>
                    <a:pt x="1759" y="984"/>
                  </a:cubicBezTo>
                  <a:cubicBezTo>
                    <a:pt x="1751" y="987"/>
                    <a:pt x="1743" y="990"/>
                    <a:pt x="1734" y="992"/>
                  </a:cubicBezTo>
                  <a:cubicBezTo>
                    <a:pt x="1726" y="995"/>
                    <a:pt x="1717" y="997"/>
                    <a:pt x="1708" y="999"/>
                  </a:cubicBezTo>
                  <a:cubicBezTo>
                    <a:pt x="1695" y="1001"/>
                    <a:pt x="1695" y="1001"/>
                    <a:pt x="1695" y="1001"/>
                  </a:cubicBezTo>
                  <a:cubicBezTo>
                    <a:pt x="1691" y="1002"/>
                    <a:pt x="1686" y="1003"/>
                    <a:pt x="1682" y="1004"/>
                  </a:cubicBezTo>
                  <a:cubicBezTo>
                    <a:pt x="1669" y="1005"/>
                    <a:pt x="1669" y="1005"/>
                    <a:pt x="1669" y="1005"/>
                  </a:cubicBezTo>
                  <a:cubicBezTo>
                    <a:pt x="1664" y="1006"/>
                    <a:pt x="1660" y="1006"/>
                    <a:pt x="1656" y="1007"/>
                  </a:cubicBezTo>
                  <a:cubicBezTo>
                    <a:pt x="1647" y="1008"/>
                    <a:pt x="1639" y="1008"/>
                    <a:pt x="1631" y="1009"/>
                  </a:cubicBezTo>
                  <a:cubicBezTo>
                    <a:pt x="1616" y="1009"/>
                    <a:pt x="1600" y="1010"/>
                    <a:pt x="1585" y="1011"/>
                  </a:cubicBezTo>
                  <a:cubicBezTo>
                    <a:pt x="1578" y="1011"/>
                    <a:pt x="1570" y="1012"/>
                    <a:pt x="1563" y="1012"/>
                  </a:cubicBezTo>
                  <a:cubicBezTo>
                    <a:pt x="1555" y="1013"/>
                    <a:pt x="1548" y="1013"/>
                    <a:pt x="1541" y="1014"/>
                  </a:cubicBezTo>
                  <a:cubicBezTo>
                    <a:pt x="1536" y="1014"/>
                    <a:pt x="1536" y="1014"/>
                    <a:pt x="1536" y="1014"/>
                  </a:cubicBezTo>
                  <a:cubicBezTo>
                    <a:pt x="1530" y="1015"/>
                    <a:pt x="1530" y="1015"/>
                    <a:pt x="1530" y="1015"/>
                  </a:cubicBezTo>
                  <a:cubicBezTo>
                    <a:pt x="1517" y="1016"/>
                    <a:pt x="1517" y="1016"/>
                    <a:pt x="1517" y="1016"/>
                  </a:cubicBezTo>
                  <a:cubicBezTo>
                    <a:pt x="1509" y="1016"/>
                    <a:pt x="1501" y="1017"/>
                    <a:pt x="1493" y="1017"/>
                  </a:cubicBezTo>
                  <a:cubicBezTo>
                    <a:pt x="1485" y="1017"/>
                    <a:pt x="1477" y="1017"/>
                    <a:pt x="1469" y="1017"/>
                  </a:cubicBezTo>
                  <a:cubicBezTo>
                    <a:pt x="1462" y="1017"/>
                    <a:pt x="1454" y="1017"/>
                    <a:pt x="1446" y="1017"/>
                  </a:cubicBezTo>
                  <a:cubicBezTo>
                    <a:pt x="1384" y="1016"/>
                    <a:pt x="1326" y="1009"/>
                    <a:pt x="1270" y="1003"/>
                  </a:cubicBezTo>
                  <a:cubicBezTo>
                    <a:pt x="1214" y="997"/>
                    <a:pt x="1161" y="990"/>
                    <a:pt x="1110" y="986"/>
                  </a:cubicBezTo>
                  <a:cubicBezTo>
                    <a:pt x="1084" y="984"/>
                    <a:pt x="1059" y="982"/>
                    <a:pt x="1035" y="982"/>
                  </a:cubicBezTo>
                  <a:cubicBezTo>
                    <a:pt x="1029" y="982"/>
                    <a:pt x="1023" y="982"/>
                    <a:pt x="1017" y="982"/>
                  </a:cubicBezTo>
                  <a:cubicBezTo>
                    <a:pt x="1011" y="982"/>
                    <a:pt x="1006" y="982"/>
                    <a:pt x="1000" y="982"/>
                  </a:cubicBezTo>
                  <a:cubicBezTo>
                    <a:pt x="989" y="983"/>
                    <a:pt x="976" y="983"/>
                    <a:pt x="964" y="984"/>
                  </a:cubicBezTo>
                  <a:cubicBezTo>
                    <a:pt x="915" y="987"/>
                    <a:pt x="868" y="989"/>
                    <a:pt x="824" y="994"/>
                  </a:cubicBezTo>
                  <a:cubicBezTo>
                    <a:pt x="737" y="1002"/>
                    <a:pt x="660" y="1020"/>
                    <a:pt x="599" y="1049"/>
                  </a:cubicBezTo>
                  <a:cubicBezTo>
                    <a:pt x="538" y="1079"/>
                    <a:pt x="489" y="1120"/>
                    <a:pt x="449" y="1158"/>
                  </a:cubicBezTo>
                  <a:cubicBezTo>
                    <a:pt x="439" y="1168"/>
                    <a:pt x="430" y="1178"/>
                    <a:pt x="421" y="1187"/>
                  </a:cubicBezTo>
                  <a:cubicBezTo>
                    <a:pt x="413" y="1197"/>
                    <a:pt x="404" y="1205"/>
                    <a:pt x="397" y="1215"/>
                  </a:cubicBezTo>
                  <a:cubicBezTo>
                    <a:pt x="393" y="1219"/>
                    <a:pt x="389" y="1224"/>
                    <a:pt x="385" y="1228"/>
                  </a:cubicBezTo>
                  <a:cubicBezTo>
                    <a:pt x="382" y="1232"/>
                    <a:pt x="378" y="1237"/>
                    <a:pt x="375" y="1241"/>
                  </a:cubicBezTo>
                  <a:cubicBezTo>
                    <a:pt x="368" y="1249"/>
                    <a:pt x="362" y="1257"/>
                    <a:pt x="356" y="1265"/>
                  </a:cubicBezTo>
                  <a:cubicBezTo>
                    <a:pt x="332" y="1296"/>
                    <a:pt x="315" y="1321"/>
                    <a:pt x="303" y="1338"/>
                  </a:cubicBezTo>
                  <a:cubicBezTo>
                    <a:pt x="292" y="1354"/>
                    <a:pt x="286" y="1363"/>
                    <a:pt x="286" y="1363"/>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2" name="Freeform 29"/>
            <p:cNvSpPr>
              <a:spLocks/>
            </p:cNvSpPr>
            <p:nvPr/>
          </p:nvSpPr>
          <p:spPr bwMode="gray">
            <a:xfrm>
              <a:off x="-898525" y="-1511300"/>
              <a:ext cx="13765213" cy="7761288"/>
            </a:xfrm>
            <a:custGeom>
              <a:avLst/>
              <a:gdLst>
                <a:gd name="T0" fmla="*/ 9 w 4399"/>
                <a:gd name="T1" fmla="*/ 1793 h 2479"/>
                <a:gd name="T2" fmla="*/ 133 w 4399"/>
                <a:gd name="T3" fmla="*/ 2004 h 2479"/>
                <a:gd name="T4" fmla="*/ 402 w 4399"/>
                <a:gd name="T5" fmla="*/ 2216 h 2479"/>
                <a:gd name="T6" fmla="*/ 776 w 4399"/>
                <a:gd name="T7" fmla="*/ 2387 h 2479"/>
                <a:gd name="T8" fmla="*/ 1239 w 4399"/>
                <a:gd name="T9" fmla="*/ 2437 h 2479"/>
                <a:gd name="T10" fmla="*/ 1624 w 4399"/>
                <a:gd name="T11" fmla="*/ 2155 h 2479"/>
                <a:gd name="T12" fmla="*/ 2039 w 4399"/>
                <a:gd name="T13" fmla="*/ 1766 h 2479"/>
                <a:gd name="T14" fmla="*/ 2406 w 4399"/>
                <a:gd name="T15" fmla="*/ 1594 h 2479"/>
                <a:gd name="T16" fmla="*/ 2733 w 4399"/>
                <a:gd name="T17" fmla="*/ 1586 h 2479"/>
                <a:gd name="T18" fmla="*/ 3231 w 4399"/>
                <a:gd name="T19" fmla="*/ 1720 h 2479"/>
                <a:gd name="T20" fmla="*/ 3679 w 4399"/>
                <a:gd name="T21" fmla="*/ 1679 h 2479"/>
                <a:gd name="T22" fmla="*/ 3944 w 4399"/>
                <a:gd name="T23" fmla="*/ 1555 h 2479"/>
                <a:gd name="T24" fmla="*/ 4300 w 4399"/>
                <a:gd name="T25" fmla="*/ 1232 h 2479"/>
                <a:gd name="T26" fmla="*/ 4351 w 4399"/>
                <a:gd name="T27" fmla="*/ 822 h 2479"/>
                <a:gd name="T28" fmla="*/ 4119 w 4399"/>
                <a:gd name="T29" fmla="*/ 481 h 2479"/>
                <a:gd name="T30" fmla="*/ 3716 w 4399"/>
                <a:gd name="T31" fmla="*/ 98 h 2479"/>
                <a:gd name="T32" fmla="*/ 3579 w 4399"/>
                <a:gd name="T33" fmla="*/ 30 h 2479"/>
                <a:gd name="T34" fmla="*/ 3441 w 4399"/>
                <a:gd name="T35" fmla="*/ 1 h 2479"/>
                <a:gd name="T36" fmla="*/ 3334 w 4399"/>
                <a:gd name="T37" fmla="*/ 22 h 2479"/>
                <a:gd name="T38" fmla="*/ 3047 w 4399"/>
                <a:gd name="T39" fmla="*/ 153 h 2479"/>
                <a:gd name="T40" fmla="*/ 2653 w 4399"/>
                <a:gd name="T41" fmla="*/ 358 h 2479"/>
                <a:gd name="T42" fmla="*/ 2160 w 4399"/>
                <a:gd name="T43" fmla="*/ 656 h 2479"/>
                <a:gd name="T44" fmla="*/ 1828 w 4399"/>
                <a:gd name="T45" fmla="*/ 830 h 2479"/>
                <a:gd name="T46" fmla="*/ 1582 w 4399"/>
                <a:gd name="T47" fmla="*/ 921 h 2479"/>
                <a:gd name="T48" fmla="*/ 1345 w 4399"/>
                <a:gd name="T49" fmla="*/ 919 h 2479"/>
                <a:gd name="T50" fmla="*/ 980 w 4399"/>
                <a:gd name="T51" fmla="*/ 892 h 2479"/>
                <a:gd name="T52" fmla="*/ 570 w 4399"/>
                <a:gd name="T53" fmla="*/ 935 h 2479"/>
                <a:gd name="T54" fmla="*/ 316 w 4399"/>
                <a:gd name="T55" fmla="*/ 1124 h 2479"/>
                <a:gd name="T56" fmla="*/ 367 w 4399"/>
                <a:gd name="T57" fmla="*/ 1095 h 2479"/>
                <a:gd name="T58" fmla="*/ 507 w 4399"/>
                <a:gd name="T59" fmla="*/ 989 h 2479"/>
                <a:gd name="T60" fmla="*/ 819 w 4399"/>
                <a:gd name="T61" fmla="*/ 904 h 2479"/>
                <a:gd name="T62" fmla="*/ 1206 w 4399"/>
                <a:gd name="T63" fmla="*/ 931 h 2479"/>
                <a:gd name="T64" fmla="*/ 1468 w 4399"/>
                <a:gd name="T65" fmla="*/ 932 h 2479"/>
                <a:gd name="T66" fmla="*/ 1699 w 4399"/>
                <a:gd name="T67" fmla="*/ 897 h 2479"/>
                <a:gd name="T68" fmla="*/ 2033 w 4399"/>
                <a:gd name="T69" fmla="*/ 750 h 2479"/>
                <a:gd name="T70" fmla="*/ 2519 w 4399"/>
                <a:gd name="T71" fmla="*/ 462 h 2479"/>
                <a:gd name="T72" fmla="*/ 2966 w 4399"/>
                <a:gd name="T73" fmla="*/ 197 h 2479"/>
                <a:gd name="T74" fmla="*/ 3393 w 4399"/>
                <a:gd name="T75" fmla="*/ 34 h 2479"/>
                <a:gd name="T76" fmla="*/ 3538 w 4399"/>
                <a:gd name="T77" fmla="*/ 29 h 2479"/>
                <a:gd name="T78" fmla="*/ 3715 w 4399"/>
                <a:gd name="T79" fmla="*/ 99 h 2479"/>
                <a:gd name="T80" fmla="*/ 4121 w 4399"/>
                <a:gd name="T81" fmla="*/ 508 h 2479"/>
                <a:gd name="T82" fmla="*/ 4362 w 4399"/>
                <a:gd name="T83" fmla="*/ 918 h 2479"/>
                <a:gd name="T84" fmla="*/ 4344 w 4399"/>
                <a:gd name="T85" fmla="*/ 1143 h 2479"/>
                <a:gd name="T86" fmla="*/ 3910 w 4399"/>
                <a:gd name="T87" fmla="*/ 1546 h 2479"/>
                <a:gd name="T88" fmla="*/ 3714 w 4399"/>
                <a:gd name="T89" fmla="*/ 1659 h 2479"/>
                <a:gd name="T90" fmla="*/ 3296 w 4399"/>
                <a:gd name="T91" fmla="*/ 1705 h 2479"/>
                <a:gd name="T92" fmla="*/ 2998 w 4399"/>
                <a:gd name="T93" fmla="*/ 1645 h 2479"/>
                <a:gd name="T94" fmla="*/ 2495 w 4399"/>
                <a:gd name="T95" fmla="*/ 1553 h 2479"/>
                <a:gd name="T96" fmla="*/ 2217 w 4399"/>
                <a:gd name="T97" fmla="*/ 1634 h 2479"/>
                <a:gd name="T98" fmla="*/ 2000 w 4399"/>
                <a:gd name="T99" fmla="*/ 1796 h 2479"/>
                <a:gd name="T100" fmla="*/ 1572 w 4399"/>
                <a:gd name="T101" fmla="*/ 2182 h 2479"/>
                <a:gd name="T102" fmla="*/ 1161 w 4399"/>
                <a:gd name="T103" fmla="*/ 2442 h 2479"/>
                <a:gd name="T104" fmla="*/ 968 w 4399"/>
                <a:gd name="T105" fmla="*/ 2440 h 2479"/>
                <a:gd name="T106" fmla="*/ 409 w 4399"/>
                <a:gd name="T107" fmla="*/ 2190 h 2479"/>
                <a:gd name="T108" fmla="*/ 192 w 4399"/>
                <a:gd name="T109" fmla="*/ 2057 h 2479"/>
                <a:gd name="T110" fmla="*/ 27 w 4399"/>
                <a:gd name="T111" fmla="*/ 1800 h 2479"/>
                <a:gd name="T112" fmla="*/ 26 w 4399"/>
                <a:gd name="T113" fmla="*/ 1706 h 2479"/>
                <a:gd name="T114" fmla="*/ 50 w 4399"/>
                <a:gd name="T115" fmla="*/ 1606 h 2479"/>
                <a:gd name="T116" fmla="*/ 124 w 4399"/>
                <a:gd name="T117" fmla="*/ 1427 h 2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399" h="2479">
                  <a:moveTo>
                    <a:pt x="177" y="1325"/>
                  </a:moveTo>
                  <a:cubicBezTo>
                    <a:pt x="149" y="1369"/>
                    <a:pt x="123" y="1411"/>
                    <a:pt x="104" y="1440"/>
                  </a:cubicBezTo>
                  <a:cubicBezTo>
                    <a:pt x="98" y="1450"/>
                    <a:pt x="92" y="1458"/>
                    <a:pt x="86" y="1470"/>
                  </a:cubicBezTo>
                  <a:cubicBezTo>
                    <a:pt x="64" y="1506"/>
                    <a:pt x="36" y="1563"/>
                    <a:pt x="18" y="1620"/>
                  </a:cubicBezTo>
                  <a:cubicBezTo>
                    <a:pt x="18" y="1621"/>
                    <a:pt x="18" y="1622"/>
                    <a:pt x="17" y="1623"/>
                  </a:cubicBezTo>
                  <a:cubicBezTo>
                    <a:pt x="17" y="1625"/>
                    <a:pt x="16" y="1627"/>
                    <a:pt x="16" y="1629"/>
                  </a:cubicBezTo>
                  <a:cubicBezTo>
                    <a:pt x="11" y="1643"/>
                    <a:pt x="8" y="1658"/>
                    <a:pt x="5" y="1673"/>
                  </a:cubicBezTo>
                  <a:cubicBezTo>
                    <a:pt x="1" y="1699"/>
                    <a:pt x="0" y="1724"/>
                    <a:pt x="2" y="1748"/>
                  </a:cubicBezTo>
                  <a:cubicBezTo>
                    <a:pt x="3" y="1759"/>
                    <a:pt x="4" y="1769"/>
                    <a:pt x="6" y="1779"/>
                  </a:cubicBezTo>
                  <a:cubicBezTo>
                    <a:pt x="7" y="1784"/>
                    <a:pt x="8" y="1789"/>
                    <a:pt x="9" y="1793"/>
                  </a:cubicBezTo>
                  <a:cubicBezTo>
                    <a:pt x="11" y="1798"/>
                    <a:pt x="12" y="1802"/>
                    <a:pt x="13" y="1806"/>
                  </a:cubicBezTo>
                  <a:cubicBezTo>
                    <a:pt x="14" y="1808"/>
                    <a:pt x="14" y="1810"/>
                    <a:pt x="15" y="1813"/>
                  </a:cubicBezTo>
                  <a:cubicBezTo>
                    <a:pt x="16" y="1815"/>
                    <a:pt x="17" y="1818"/>
                    <a:pt x="18" y="1821"/>
                  </a:cubicBezTo>
                  <a:cubicBezTo>
                    <a:pt x="19" y="1823"/>
                    <a:pt x="20" y="1826"/>
                    <a:pt x="21" y="1829"/>
                  </a:cubicBezTo>
                  <a:cubicBezTo>
                    <a:pt x="23" y="1833"/>
                    <a:pt x="23" y="1833"/>
                    <a:pt x="23" y="1833"/>
                  </a:cubicBezTo>
                  <a:cubicBezTo>
                    <a:pt x="24" y="1837"/>
                    <a:pt x="24" y="1837"/>
                    <a:pt x="24" y="1837"/>
                  </a:cubicBezTo>
                  <a:cubicBezTo>
                    <a:pt x="31" y="1855"/>
                    <a:pt x="42" y="1877"/>
                    <a:pt x="54" y="1899"/>
                  </a:cubicBezTo>
                  <a:cubicBezTo>
                    <a:pt x="68" y="1922"/>
                    <a:pt x="84" y="1946"/>
                    <a:pt x="103" y="1969"/>
                  </a:cubicBezTo>
                  <a:cubicBezTo>
                    <a:pt x="103" y="1969"/>
                    <a:pt x="103" y="1969"/>
                    <a:pt x="103" y="1969"/>
                  </a:cubicBezTo>
                  <a:cubicBezTo>
                    <a:pt x="113" y="1981"/>
                    <a:pt x="123" y="1993"/>
                    <a:pt x="133" y="2004"/>
                  </a:cubicBezTo>
                  <a:cubicBezTo>
                    <a:pt x="135" y="2007"/>
                    <a:pt x="138" y="2009"/>
                    <a:pt x="140" y="2011"/>
                  </a:cubicBezTo>
                  <a:cubicBezTo>
                    <a:pt x="142" y="2014"/>
                    <a:pt x="144" y="2016"/>
                    <a:pt x="146" y="2018"/>
                  </a:cubicBezTo>
                  <a:cubicBezTo>
                    <a:pt x="151" y="2023"/>
                    <a:pt x="155" y="2028"/>
                    <a:pt x="159" y="2032"/>
                  </a:cubicBezTo>
                  <a:cubicBezTo>
                    <a:pt x="163" y="2036"/>
                    <a:pt x="168" y="2041"/>
                    <a:pt x="172" y="2045"/>
                  </a:cubicBezTo>
                  <a:cubicBezTo>
                    <a:pt x="176" y="2049"/>
                    <a:pt x="180" y="2054"/>
                    <a:pt x="184" y="2057"/>
                  </a:cubicBezTo>
                  <a:cubicBezTo>
                    <a:pt x="200" y="2073"/>
                    <a:pt x="216" y="2086"/>
                    <a:pt x="228" y="2098"/>
                  </a:cubicBezTo>
                  <a:cubicBezTo>
                    <a:pt x="238" y="2105"/>
                    <a:pt x="244" y="2112"/>
                    <a:pt x="255" y="2120"/>
                  </a:cubicBezTo>
                  <a:cubicBezTo>
                    <a:pt x="287" y="2147"/>
                    <a:pt x="341" y="2182"/>
                    <a:pt x="394" y="2211"/>
                  </a:cubicBezTo>
                  <a:cubicBezTo>
                    <a:pt x="395" y="2212"/>
                    <a:pt x="396" y="2212"/>
                    <a:pt x="397" y="2213"/>
                  </a:cubicBezTo>
                  <a:cubicBezTo>
                    <a:pt x="398" y="2214"/>
                    <a:pt x="400" y="2215"/>
                    <a:pt x="402" y="2216"/>
                  </a:cubicBezTo>
                  <a:cubicBezTo>
                    <a:pt x="415" y="2224"/>
                    <a:pt x="429" y="2231"/>
                    <a:pt x="443" y="2238"/>
                  </a:cubicBezTo>
                  <a:cubicBezTo>
                    <a:pt x="455" y="2245"/>
                    <a:pt x="467" y="2251"/>
                    <a:pt x="479" y="2257"/>
                  </a:cubicBezTo>
                  <a:cubicBezTo>
                    <a:pt x="491" y="2263"/>
                    <a:pt x="503" y="2268"/>
                    <a:pt x="514" y="2273"/>
                  </a:cubicBezTo>
                  <a:cubicBezTo>
                    <a:pt x="524" y="2278"/>
                    <a:pt x="535" y="2283"/>
                    <a:pt x="544" y="2287"/>
                  </a:cubicBezTo>
                  <a:cubicBezTo>
                    <a:pt x="554" y="2291"/>
                    <a:pt x="564" y="2295"/>
                    <a:pt x="571" y="2298"/>
                  </a:cubicBezTo>
                  <a:cubicBezTo>
                    <a:pt x="580" y="2302"/>
                    <a:pt x="592" y="2307"/>
                    <a:pt x="604" y="2312"/>
                  </a:cubicBezTo>
                  <a:cubicBezTo>
                    <a:pt x="624" y="2320"/>
                    <a:pt x="647" y="2330"/>
                    <a:pt x="672" y="2341"/>
                  </a:cubicBezTo>
                  <a:cubicBezTo>
                    <a:pt x="698" y="2353"/>
                    <a:pt x="726" y="2365"/>
                    <a:pt x="754" y="2378"/>
                  </a:cubicBezTo>
                  <a:cubicBezTo>
                    <a:pt x="754" y="2378"/>
                    <a:pt x="754" y="2378"/>
                    <a:pt x="754" y="2378"/>
                  </a:cubicBezTo>
                  <a:cubicBezTo>
                    <a:pt x="761" y="2381"/>
                    <a:pt x="769" y="2384"/>
                    <a:pt x="776" y="2387"/>
                  </a:cubicBezTo>
                  <a:cubicBezTo>
                    <a:pt x="783" y="2390"/>
                    <a:pt x="790" y="2393"/>
                    <a:pt x="798" y="2396"/>
                  </a:cubicBezTo>
                  <a:cubicBezTo>
                    <a:pt x="846" y="2416"/>
                    <a:pt x="891" y="2433"/>
                    <a:pt x="924" y="2445"/>
                  </a:cubicBezTo>
                  <a:cubicBezTo>
                    <a:pt x="929" y="2447"/>
                    <a:pt x="934" y="2449"/>
                    <a:pt x="940" y="2451"/>
                  </a:cubicBezTo>
                  <a:cubicBezTo>
                    <a:pt x="945" y="2452"/>
                    <a:pt x="950" y="2454"/>
                    <a:pt x="956" y="2456"/>
                  </a:cubicBezTo>
                  <a:cubicBezTo>
                    <a:pt x="976" y="2462"/>
                    <a:pt x="1002" y="2468"/>
                    <a:pt x="1030" y="2472"/>
                  </a:cubicBezTo>
                  <a:cubicBezTo>
                    <a:pt x="1058" y="2476"/>
                    <a:pt x="1088" y="2479"/>
                    <a:pt x="1116" y="2476"/>
                  </a:cubicBezTo>
                  <a:cubicBezTo>
                    <a:pt x="1117" y="2476"/>
                    <a:pt x="1118" y="2476"/>
                    <a:pt x="1119" y="2476"/>
                  </a:cubicBezTo>
                  <a:cubicBezTo>
                    <a:pt x="1121" y="2475"/>
                    <a:pt x="1123" y="2475"/>
                    <a:pt x="1125" y="2475"/>
                  </a:cubicBezTo>
                  <a:cubicBezTo>
                    <a:pt x="1140" y="2473"/>
                    <a:pt x="1155" y="2470"/>
                    <a:pt x="1169" y="2466"/>
                  </a:cubicBezTo>
                  <a:cubicBezTo>
                    <a:pt x="1194" y="2459"/>
                    <a:pt x="1218" y="2448"/>
                    <a:pt x="1239" y="2437"/>
                  </a:cubicBezTo>
                  <a:cubicBezTo>
                    <a:pt x="1250" y="2432"/>
                    <a:pt x="1259" y="2426"/>
                    <a:pt x="1268" y="2421"/>
                  </a:cubicBezTo>
                  <a:cubicBezTo>
                    <a:pt x="1277" y="2416"/>
                    <a:pt x="1286" y="2411"/>
                    <a:pt x="1293" y="2406"/>
                  </a:cubicBezTo>
                  <a:cubicBezTo>
                    <a:pt x="1302" y="2401"/>
                    <a:pt x="1312" y="2394"/>
                    <a:pt x="1322" y="2388"/>
                  </a:cubicBezTo>
                  <a:cubicBezTo>
                    <a:pt x="1340" y="2377"/>
                    <a:pt x="1360" y="2363"/>
                    <a:pt x="1381" y="2347"/>
                  </a:cubicBezTo>
                  <a:cubicBezTo>
                    <a:pt x="1403" y="2330"/>
                    <a:pt x="1427" y="2311"/>
                    <a:pt x="1451" y="2292"/>
                  </a:cubicBezTo>
                  <a:cubicBezTo>
                    <a:pt x="1451" y="2292"/>
                    <a:pt x="1451" y="2292"/>
                    <a:pt x="1451" y="2292"/>
                  </a:cubicBezTo>
                  <a:cubicBezTo>
                    <a:pt x="1463" y="2282"/>
                    <a:pt x="1476" y="2271"/>
                    <a:pt x="1488" y="2262"/>
                  </a:cubicBezTo>
                  <a:cubicBezTo>
                    <a:pt x="1508" y="2245"/>
                    <a:pt x="1528" y="2229"/>
                    <a:pt x="1547" y="2214"/>
                  </a:cubicBezTo>
                  <a:cubicBezTo>
                    <a:pt x="1565" y="2200"/>
                    <a:pt x="1582" y="2187"/>
                    <a:pt x="1595" y="2176"/>
                  </a:cubicBezTo>
                  <a:cubicBezTo>
                    <a:pt x="1605" y="2169"/>
                    <a:pt x="1613" y="2163"/>
                    <a:pt x="1624" y="2155"/>
                  </a:cubicBezTo>
                  <a:cubicBezTo>
                    <a:pt x="1657" y="2128"/>
                    <a:pt x="1705" y="2085"/>
                    <a:pt x="1750" y="2044"/>
                  </a:cubicBezTo>
                  <a:cubicBezTo>
                    <a:pt x="1750" y="2043"/>
                    <a:pt x="1751" y="2043"/>
                    <a:pt x="1752" y="2042"/>
                  </a:cubicBezTo>
                  <a:cubicBezTo>
                    <a:pt x="1754" y="2040"/>
                    <a:pt x="1755" y="2039"/>
                    <a:pt x="1757" y="2038"/>
                  </a:cubicBezTo>
                  <a:cubicBezTo>
                    <a:pt x="1768" y="2027"/>
                    <a:pt x="1780" y="2016"/>
                    <a:pt x="1791" y="2005"/>
                  </a:cubicBezTo>
                  <a:cubicBezTo>
                    <a:pt x="1811" y="1986"/>
                    <a:pt x="1830" y="1967"/>
                    <a:pt x="1848" y="1950"/>
                  </a:cubicBezTo>
                  <a:cubicBezTo>
                    <a:pt x="1856" y="1941"/>
                    <a:pt x="1864" y="1933"/>
                    <a:pt x="1871" y="1926"/>
                  </a:cubicBezTo>
                  <a:cubicBezTo>
                    <a:pt x="1878" y="1918"/>
                    <a:pt x="1886" y="1910"/>
                    <a:pt x="1891" y="1904"/>
                  </a:cubicBezTo>
                  <a:cubicBezTo>
                    <a:pt x="1898" y="1897"/>
                    <a:pt x="1907" y="1888"/>
                    <a:pt x="1916" y="1878"/>
                  </a:cubicBezTo>
                  <a:cubicBezTo>
                    <a:pt x="1931" y="1863"/>
                    <a:pt x="1950" y="1845"/>
                    <a:pt x="1969" y="1827"/>
                  </a:cubicBezTo>
                  <a:cubicBezTo>
                    <a:pt x="1991" y="1807"/>
                    <a:pt x="2014" y="1786"/>
                    <a:pt x="2039" y="1766"/>
                  </a:cubicBezTo>
                  <a:cubicBezTo>
                    <a:pt x="2039" y="1766"/>
                    <a:pt x="2039" y="1766"/>
                    <a:pt x="2039" y="1766"/>
                  </a:cubicBezTo>
                  <a:cubicBezTo>
                    <a:pt x="2045" y="1761"/>
                    <a:pt x="2051" y="1756"/>
                    <a:pt x="2058" y="1751"/>
                  </a:cubicBezTo>
                  <a:cubicBezTo>
                    <a:pt x="2064" y="1745"/>
                    <a:pt x="2071" y="1740"/>
                    <a:pt x="2077" y="1735"/>
                  </a:cubicBezTo>
                  <a:cubicBezTo>
                    <a:pt x="2121" y="1703"/>
                    <a:pt x="2165" y="1676"/>
                    <a:pt x="2198" y="1660"/>
                  </a:cubicBezTo>
                  <a:cubicBezTo>
                    <a:pt x="2209" y="1655"/>
                    <a:pt x="2218" y="1651"/>
                    <a:pt x="2231" y="1646"/>
                  </a:cubicBezTo>
                  <a:cubicBezTo>
                    <a:pt x="2252" y="1637"/>
                    <a:pt x="2279" y="1627"/>
                    <a:pt x="2307" y="1619"/>
                  </a:cubicBezTo>
                  <a:cubicBezTo>
                    <a:pt x="2322" y="1615"/>
                    <a:pt x="2337" y="1611"/>
                    <a:pt x="2352" y="1607"/>
                  </a:cubicBezTo>
                  <a:cubicBezTo>
                    <a:pt x="2367" y="1604"/>
                    <a:pt x="2382" y="1600"/>
                    <a:pt x="2396" y="1597"/>
                  </a:cubicBezTo>
                  <a:cubicBezTo>
                    <a:pt x="2397" y="1596"/>
                    <a:pt x="2399" y="1596"/>
                    <a:pt x="2400" y="1596"/>
                  </a:cubicBezTo>
                  <a:cubicBezTo>
                    <a:pt x="2402" y="1595"/>
                    <a:pt x="2404" y="1595"/>
                    <a:pt x="2406" y="1594"/>
                  </a:cubicBezTo>
                  <a:cubicBezTo>
                    <a:pt x="2421" y="1591"/>
                    <a:pt x="2437" y="1587"/>
                    <a:pt x="2452" y="1584"/>
                  </a:cubicBezTo>
                  <a:cubicBezTo>
                    <a:pt x="2481" y="1578"/>
                    <a:pt x="2509" y="1575"/>
                    <a:pt x="2534" y="1574"/>
                  </a:cubicBezTo>
                  <a:cubicBezTo>
                    <a:pt x="2541" y="1574"/>
                    <a:pt x="2547" y="1573"/>
                    <a:pt x="2552" y="1573"/>
                  </a:cubicBezTo>
                  <a:cubicBezTo>
                    <a:pt x="2558" y="1573"/>
                    <a:pt x="2564" y="1573"/>
                    <a:pt x="2569" y="1573"/>
                  </a:cubicBezTo>
                  <a:cubicBezTo>
                    <a:pt x="2579" y="1573"/>
                    <a:pt x="2591" y="1573"/>
                    <a:pt x="2599" y="1573"/>
                  </a:cubicBezTo>
                  <a:cubicBezTo>
                    <a:pt x="2610" y="1573"/>
                    <a:pt x="2623" y="1574"/>
                    <a:pt x="2636" y="1574"/>
                  </a:cubicBezTo>
                  <a:cubicBezTo>
                    <a:pt x="2647" y="1575"/>
                    <a:pt x="2659" y="1576"/>
                    <a:pt x="2671" y="1577"/>
                  </a:cubicBezTo>
                  <a:cubicBezTo>
                    <a:pt x="2677" y="1578"/>
                    <a:pt x="2684" y="1579"/>
                    <a:pt x="2690" y="1579"/>
                  </a:cubicBezTo>
                  <a:cubicBezTo>
                    <a:pt x="2697" y="1580"/>
                    <a:pt x="2704" y="1581"/>
                    <a:pt x="2711" y="1582"/>
                  </a:cubicBezTo>
                  <a:cubicBezTo>
                    <a:pt x="2718" y="1583"/>
                    <a:pt x="2726" y="1585"/>
                    <a:pt x="2733" y="1586"/>
                  </a:cubicBezTo>
                  <a:cubicBezTo>
                    <a:pt x="2741" y="1588"/>
                    <a:pt x="2748" y="1589"/>
                    <a:pt x="2756" y="1590"/>
                  </a:cubicBezTo>
                  <a:cubicBezTo>
                    <a:pt x="2771" y="1594"/>
                    <a:pt x="2787" y="1597"/>
                    <a:pt x="2802" y="1601"/>
                  </a:cubicBezTo>
                  <a:cubicBezTo>
                    <a:pt x="2802" y="1601"/>
                    <a:pt x="2802" y="1601"/>
                    <a:pt x="2802" y="1601"/>
                  </a:cubicBezTo>
                  <a:cubicBezTo>
                    <a:pt x="2818" y="1605"/>
                    <a:pt x="2834" y="1609"/>
                    <a:pt x="2849" y="1613"/>
                  </a:cubicBezTo>
                  <a:cubicBezTo>
                    <a:pt x="2901" y="1627"/>
                    <a:pt x="2948" y="1642"/>
                    <a:pt x="2981" y="1654"/>
                  </a:cubicBezTo>
                  <a:cubicBezTo>
                    <a:pt x="2993" y="1658"/>
                    <a:pt x="3002" y="1661"/>
                    <a:pt x="3015" y="1666"/>
                  </a:cubicBezTo>
                  <a:cubicBezTo>
                    <a:pt x="3056" y="1679"/>
                    <a:pt x="3117" y="1697"/>
                    <a:pt x="3176" y="1710"/>
                  </a:cubicBezTo>
                  <a:cubicBezTo>
                    <a:pt x="3177" y="1710"/>
                    <a:pt x="3178" y="1710"/>
                    <a:pt x="3179" y="1710"/>
                  </a:cubicBezTo>
                  <a:cubicBezTo>
                    <a:pt x="3181" y="1711"/>
                    <a:pt x="3183" y="1711"/>
                    <a:pt x="3185" y="1712"/>
                  </a:cubicBezTo>
                  <a:cubicBezTo>
                    <a:pt x="3201" y="1715"/>
                    <a:pt x="3216" y="1718"/>
                    <a:pt x="3231" y="1720"/>
                  </a:cubicBezTo>
                  <a:cubicBezTo>
                    <a:pt x="3244" y="1723"/>
                    <a:pt x="3258" y="1724"/>
                    <a:pt x="3271" y="1726"/>
                  </a:cubicBezTo>
                  <a:cubicBezTo>
                    <a:pt x="3284" y="1727"/>
                    <a:pt x="3296" y="1728"/>
                    <a:pt x="3308" y="1729"/>
                  </a:cubicBezTo>
                  <a:cubicBezTo>
                    <a:pt x="3320" y="1729"/>
                    <a:pt x="3331" y="1730"/>
                    <a:pt x="3341" y="1730"/>
                  </a:cubicBezTo>
                  <a:cubicBezTo>
                    <a:pt x="3351" y="1730"/>
                    <a:pt x="3362" y="1730"/>
                    <a:pt x="3370" y="1729"/>
                  </a:cubicBezTo>
                  <a:cubicBezTo>
                    <a:pt x="3380" y="1728"/>
                    <a:pt x="3392" y="1728"/>
                    <a:pt x="3405" y="1727"/>
                  </a:cubicBezTo>
                  <a:cubicBezTo>
                    <a:pt x="3426" y="1726"/>
                    <a:pt x="3451" y="1725"/>
                    <a:pt x="3476" y="1722"/>
                  </a:cubicBezTo>
                  <a:cubicBezTo>
                    <a:pt x="3504" y="1720"/>
                    <a:pt x="3534" y="1715"/>
                    <a:pt x="3563" y="1710"/>
                  </a:cubicBezTo>
                  <a:cubicBezTo>
                    <a:pt x="3563" y="1710"/>
                    <a:pt x="3563" y="1710"/>
                    <a:pt x="3563" y="1710"/>
                  </a:cubicBezTo>
                  <a:cubicBezTo>
                    <a:pt x="3578" y="1707"/>
                    <a:pt x="3593" y="1703"/>
                    <a:pt x="3608" y="1699"/>
                  </a:cubicBezTo>
                  <a:cubicBezTo>
                    <a:pt x="3633" y="1693"/>
                    <a:pt x="3657" y="1686"/>
                    <a:pt x="3679" y="1679"/>
                  </a:cubicBezTo>
                  <a:cubicBezTo>
                    <a:pt x="3690" y="1676"/>
                    <a:pt x="3701" y="1673"/>
                    <a:pt x="3710" y="1670"/>
                  </a:cubicBezTo>
                  <a:cubicBezTo>
                    <a:pt x="3720" y="1666"/>
                    <a:pt x="3729" y="1663"/>
                    <a:pt x="3737" y="1661"/>
                  </a:cubicBezTo>
                  <a:cubicBezTo>
                    <a:pt x="3748" y="1657"/>
                    <a:pt x="3757" y="1654"/>
                    <a:pt x="3770" y="1650"/>
                  </a:cubicBezTo>
                  <a:cubicBezTo>
                    <a:pt x="3779" y="1646"/>
                    <a:pt x="3790" y="1641"/>
                    <a:pt x="3802" y="1636"/>
                  </a:cubicBezTo>
                  <a:cubicBezTo>
                    <a:pt x="3808" y="1633"/>
                    <a:pt x="3814" y="1630"/>
                    <a:pt x="3820" y="1627"/>
                  </a:cubicBezTo>
                  <a:cubicBezTo>
                    <a:pt x="3826" y="1624"/>
                    <a:pt x="3832" y="1621"/>
                    <a:pt x="3839" y="1618"/>
                  </a:cubicBezTo>
                  <a:cubicBezTo>
                    <a:pt x="3864" y="1604"/>
                    <a:pt x="3891" y="1589"/>
                    <a:pt x="3916" y="1573"/>
                  </a:cubicBezTo>
                  <a:cubicBezTo>
                    <a:pt x="3917" y="1572"/>
                    <a:pt x="3918" y="1572"/>
                    <a:pt x="3919" y="1571"/>
                  </a:cubicBezTo>
                  <a:cubicBezTo>
                    <a:pt x="3921" y="1570"/>
                    <a:pt x="3923" y="1569"/>
                    <a:pt x="3924" y="1568"/>
                  </a:cubicBezTo>
                  <a:cubicBezTo>
                    <a:pt x="3931" y="1564"/>
                    <a:pt x="3937" y="1559"/>
                    <a:pt x="3944" y="1555"/>
                  </a:cubicBezTo>
                  <a:cubicBezTo>
                    <a:pt x="3950" y="1551"/>
                    <a:pt x="3957" y="1547"/>
                    <a:pt x="3963" y="1542"/>
                  </a:cubicBezTo>
                  <a:cubicBezTo>
                    <a:pt x="3986" y="1527"/>
                    <a:pt x="4007" y="1510"/>
                    <a:pt x="4026" y="1495"/>
                  </a:cubicBezTo>
                  <a:cubicBezTo>
                    <a:pt x="4036" y="1488"/>
                    <a:pt x="4044" y="1481"/>
                    <a:pt x="4052" y="1474"/>
                  </a:cubicBezTo>
                  <a:cubicBezTo>
                    <a:pt x="4060" y="1468"/>
                    <a:pt x="4068" y="1460"/>
                    <a:pt x="4074" y="1455"/>
                  </a:cubicBezTo>
                  <a:cubicBezTo>
                    <a:pt x="4081" y="1448"/>
                    <a:pt x="4090" y="1440"/>
                    <a:pt x="4100" y="1431"/>
                  </a:cubicBezTo>
                  <a:cubicBezTo>
                    <a:pt x="4115" y="1417"/>
                    <a:pt x="4134" y="1399"/>
                    <a:pt x="4153" y="1382"/>
                  </a:cubicBezTo>
                  <a:cubicBezTo>
                    <a:pt x="4174" y="1363"/>
                    <a:pt x="4196" y="1342"/>
                    <a:pt x="4218" y="1320"/>
                  </a:cubicBezTo>
                  <a:cubicBezTo>
                    <a:pt x="4218" y="1320"/>
                    <a:pt x="4218" y="1320"/>
                    <a:pt x="4218" y="1320"/>
                  </a:cubicBezTo>
                  <a:cubicBezTo>
                    <a:pt x="4229" y="1310"/>
                    <a:pt x="4240" y="1298"/>
                    <a:pt x="4251" y="1287"/>
                  </a:cubicBezTo>
                  <a:cubicBezTo>
                    <a:pt x="4269" y="1268"/>
                    <a:pt x="4285" y="1249"/>
                    <a:pt x="4300" y="1232"/>
                  </a:cubicBezTo>
                  <a:cubicBezTo>
                    <a:pt x="4315" y="1215"/>
                    <a:pt x="4327" y="1199"/>
                    <a:pt x="4337" y="1185"/>
                  </a:cubicBezTo>
                  <a:cubicBezTo>
                    <a:pt x="4344" y="1176"/>
                    <a:pt x="4350" y="1169"/>
                    <a:pt x="4356" y="1158"/>
                  </a:cubicBezTo>
                  <a:cubicBezTo>
                    <a:pt x="4367" y="1140"/>
                    <a:pt x="4378" y="1117"/>
                    <a:pt x="4386" y="1091"/>
                  </a:cubicBezTo>
                  <a:cubicBezTo>
                    <a:pt x="4394" y="1065"/>
                    <a:pt x="4399" y="1035"/>
                    <a:pt x="4398" y="1007"/>
                  </a:cubicBezTo>
                  <a:cubicBezTo>
                    <a:pt x="4398" y="1006"/>
                    <a:pt x="4398" y="1004"/>
                    <a:pt x="4398" y="1003"/>
                  </a:cubicBezTo>
                  <a:cubicBezTo>
                    <a:pt x="4398" y="1001"/>
                    <a:pt x="4398" y="999"/>
                    <a:pt x="4398" y="997"/>
                  </a:cubicBezTo>
                  <a:cubicBezTo>
                    <a:pt x="4398" y="983"/>
                    <a:pt x="4396" y="967"/>
                    <a:pt x="4394" y="953"/>
                  </a:cubicBezTo>
                  <a:cubicBezTo>
                    <a:pt x="4389" y="927"/>
                    <a:pt x="4382" y="901"/>
                    <a:pt x="4375" y="879"/>
                  </a:cubicBezTo>
                  <a:cubicBezTo>
                    <a:pt x="4371" y="868"/>
                    <a:pt x="4367" y="857"/>
                    <a:pt x="4363" y="848"/>
                  </a:cubicBezTo>
                  <a:cubicBezTo>
                    <a:pt x="4359" y="839"/>
                    <a:pt x="4355" y="829"/>
                    <a:pt x="4351" y="822"/>
                  </a:cubicBezTo>
                  <a:cubicBezTo>
                    <a:pt x="4347" y="814"/>
                    <a:pt x="4341" y="803"/>
                    <a:pt x="4335" y="792"/>
                  </a:cubicBezTo>
                  <a:cubicBezTo>
                    <a:pt x="4326" y="774"/>
                    <a:pt x="4313" y="752"/>
                    <a:pt x="4300" y="730"/>
                  </a:cubicBezTo>
                  <a:cubicBezTo>
                    <a:pt x="4285" y="706"/>
                    <a:pt x="4269" y="681"/>
                    <a:pt x="4251" y="656"/>
                  </a:cubicBezTo>
                  <a:cubicBezTo>
                    <a:pt x="4251" y="656"/>
                    <a:pt x="4251" y="656"/>
                    <a:pt x="4251" y="656"/>
                  </a:cubicBezTo>
                  <a:cubicBezTo>
                    <a:pt x="4247" y="650"/>
                    <a:pt x="4242" y="643"/>
                    <a:pt x="4237" y="637"/>
                  </a:cubicBezTo>
                  <a:cubicBezTo>
                    <a:pt x="4233" y="630"/>
                    <a:pt x="4228" y="624"/>
                    <a:pt x="4223" y="618"/>
                  </a:cubicBezTo>
                  <a:cubicBezTo>
                    <a:pt x="4208" y="597"/>
                    <a:pt x="4192" y="577"/>
                    <a:pt x="4178" y="559"/>
                  </a:cubicBezTo>
                  <a:cubicBezTo>
                    <a:pt x="4171" y="550"/>
                    <a:pt x="4164" y="541"/>
                    <a:pt x="4158" y="533"/>
                  </a:cubicBezTo>
                  <a:cubicBezTo>
                    <a:pt x="4152" y="524"/>
                    <a:pt x="4146" y="517"/>
                    <a:pt x="4140" y="510"/>
                  </a:cubicBezTo>
                  <a:cubicBezTo>
                    <a:pt x="4133" y="500"/>
                    <a:pt x="4127" y="492"/>
                    <a:pt x="4119" y="481"/>
                  </a:cubicBezTo>
                  <a:cubicBezTo>
                    <a:pt x="4093" y="446"/>
                    <a:pt x="4053" y="397"/>
                    <a:pt x="4013" y="351"/>
                  </a:cubicBezTo>
                  <a:cubicBezTo>
                    <a:pt x="4012" y="351"/>
                    <a:pt x="4011" y="350"/>
                    <a:pt x="4010" y="349"/>
                  </a:cubicBezTo>
                  <a:cubicBezTo>
                    <a:pt x="4009" y="347"/>
                    <a:pt x="4008" y="346"/>
                    <a:pt x="4006" y="344"/>
                  </a:cubicBezTo>
                  <a:cubicBezTo>
                    <a:pt x="3996" y="333"/>
                    <a:pt x="3985" y="321"/>
                    <a:pt x="3975" y="310"/>
                  </a:cubicBezTo>
                  <a:cubicBezTo>
                    <a:pt x="3956" y="290"/>
                    <a:pt x="3937" y="271"/>
                    <a:pt x="3919" y="254"/>
                  </a:cubicBezTo>
                  <a:cubicBezTo>
                    <a:pt x="3910" y="246"/>
                    <a:pt x="3902" y="238"/>
                    <a:pt x="3895" y="232"/>
                  </a:cubicBezTo>
                  <a:cubicBezTo>
                    <a:pt x="3887" y="225"/>
                    <a:pt x="3878" y="218"/>
                    <a:pt x="3872" y="213"/>
                  </a:cubicBezTo>
                  <a:cubicBezTo>
                    <a:pt x="3864" y="207"/>
                    <a:pt x="3854" y="199"/>
                    <a:pt x="3845" y="191"/>
                  </a:cubicBezTo>
                  <a:cubicBezTo>
                    <a:pt x="3829" y="178"/>
                    <a:pt x="3809" y="162"/>
                    <a:pt x="3788" y="147"/>
                  </a:cubicBezTo>
                  <a:cubicBezTo>
                    <a:pt x="3766" y="130"/>
                    <a:pt x="3741" y="113"/>
                    <a:pt x="3716" y="98"/>
                  </a:cubicBezTo>
                  <a:cubicBezTo>
                    <a:pt x="3716" y="98"/>
                    <a:pt x="3716" y="98"/>
                    <a:pt x="3716" y="98"/>
                  </a:cubicBezTo>
                  <a:cubicBezTo>
                    <a:pt x="3710" y="94"/>
                    <a:pt x="3703" y="91"/>
                    <a:pt x="3696" y="87"/>
                  </a:cubicBezTo>
                  <a:cubicBezTo>
                    <a:pt x="3693" y="85"/>
                    <a:pt x="3690" y="84"/>
                    <a:pt x="3686" y="82"/>
                  </a:cubicBezTo>
                  <a:cubicBezTo>
                    <a:pt x="3685" y="81"/>
                    <a:pt x="3683" y="80"/>
                    <a:pt x="3682" y="80"/>
                  </a:cubicBezTo>
                  <a:cubicBezTo>
                    <a:pt x="3680" y="79"/>
                    <a:pt x="3678" y="78"/>
                    <a:pt x="3676" y="77"/>
                  </a:cubicBezTo>
                  <a:cubicBezTo>
                    <a:pt x="3664" y="71"/>
                    <a:pt x="3652" y="66"/>
                    <a:pt x="3641" y="60"/>
                  </a:cubicBezTo>
                  <a:cubicBezTo>
                    <a:pt x="3630" y="55"/>
                    <a:pt x="3619" y="49"/>
                    <a:pt x="3608" y="44"/>
                  </a:cubicBezTo>
                  <a:cubicBezTo>
                    <a:pt x="3606" y="43"/>
                    <a:pt x="3603" y="42"/>
                    <a:pt x="3601" y="40"/>
                  </a:cubicBezTo>
                  <a:cubicBezTo>
                    <a:pt x="3598" y="39"/>
                    <a:pt x="3596" y="38"/>
                    <a:pt x="3593" y="37"/>
                  </a:cubicBezTo>
                  <a:cubicBezTo>
                    <a:pt x="3588" y="35"/>
                    <a:pt x="3584" y="33"/>
                    <a:pt x="3579" y="30"/>
                  </a:cubicBezTo>
                  <a:cubicBezTo>
                    <a:pt x="3570" y="27"/>
                    <a:pt x="3562" y="23"/>
                    <a:pt x="3554" y="19"/>
                  </a:cubicBezTo>
                  <a:cubicBezTo>
                    <a:pt x="3543" y="16"/>
                    <a:pt x="3535" y="12"/>
                    <a:pt x="3523" y="9"/>
                  </a:cubicBezTo>
                  <a:cubicBezTo>
                    <a:pt x="3520" y="8"/>
                    <a:pt x="3518" y="7"/>
                    <a:pt x="3515" y="7"/>
                  </a:cubicBezTo>
                  <a:cubicBezTo>
                    <a:pt x="3513" y="6"/>
                    <a:pt x="3510" y="5"/>
                    <a:pt x="3507" y="5"/>
                  </a:cubicBezTo>
                  <a:cubicBezTo>
                    <a:pt x="3502" y="4"/>
                    <a:pt x="3496" y="3"/>
                    <a:pt x="3490" y="2"/>
                  </a:cubicBezTo>
                  <a:cubicBezTo>
                    <a:pt x="3487" y="1"/>
                    <a:pt x="3484" y="1"/>
                    <a:pt x="3481" y="1"/>
                  </a:cubicBezTo>
                  <a:cubicBezTo>
                    <a:pt x="3478" y="1"/>
                    <a:pt x="3475" y="1"/>
                    <a:pt x="3471" y="1"/>
                  </a:cubicBezTo>
                  <a:cubicBezTo>
                    <a:pt x="3468" y="1"/>
                    <a:pt x="3465" y="0"/>
                    <a:pt x="3461" y="0"/>
                  </a:cubicBezTo>
                  <a:cubicBezTo>
                    <a:pt x="3458" y="0"/>
                    <a:pt x="3455" y="0"/>
                    <a:pt x="3451" y="1"/>
                  </a:cubicBezTo>
                  <a:cubicBezTo>
                    <a:pt x="3448" y="1"/>
                    <a:pt x="3444" y="1"/>
                    <a:pt x="3441" y="1"/>
                  </a:cubicBezTo>
                  <a:cubicBezTo>
                    <a:pt x="3437" y="1"/>
                    <a:pt x="3434" y="1"/>
                    <a:pt x="3430" y="2"/>
                  </a:cubicBezTo>
                  <a:cubicBezTo>
                    <a:pt x="3423" y="3"/>
                    <a:pt x="3416" y="4"/>
                    <a:pt x="3409" y="5"/>
                  </a:cubicBezTo>
                  <a:cubicBezTo>
                    <a:pt x="3403" y="5"/>
                    <a:pt x="3403" y="5"/>
                    <a:pt x="3403" y="5"/>
                  </a:cubicBezTo>
                  <a:cubicBezTo>
                    <a:pt x="3398" y="6"/>
                    <a:pt x="3398" y="6"/>
                    <a:pt x="3398" y="6"/>
                  </a:cubicBezTo>
                  <a:cubicBezTo>
                    <a:pt x="3387" y="9"/>
                    <a:pt x="3387" y="9"/>
                    <a:pt x="3387" y="9"/>
                  </a:cubicBezTo>
                  <a:cubicBezTo>
                    <a:pt x="3376" y="11"/>
                    <a:pt x="3376" y="11"/>
                    <a:pt x="3376" y="11"/>
                  </a:cubicBezTo>
                  <a:cubicBezTo>
                    <a:pt x="3372" y="12"/>
                    <a:pt x="3369" y="12"/>
                    <a:pt x="3365" y="13"/>
                  </a:cubicBezTo>
                  <a:cubicBezTo>
                    <a:pt x="3364" y="14"/>
                    <a:pt x="3363" y="14"/>
                    <a:pt x="3362" y="14"/>
                  </a:cubicBezTo>
                  <a:cubicBezTo>
                    <a:pt x="3360" y="15"/>
                    <a:pt x="3358" y="15"/>
                    <a:pt x="3356" y="16"/>
                  </a:cubicBezTo>
                  <a:cubicBezTo>
                    <a:pt x="3349" y="18"/>
                    <a:pt x="3341" y="20"/>
                    <a:pt x="3334" y="22"/>
                  </a:cubicBezTo>
                  <a:cubicBezTo>
                    <a:pt x="3326" y="24"/>
                    <a:pt x="3319" y="27"/>
                    <a:pt x="3312" y="29"/>
                  </a:cubicBezTo>
                  <a:cubicBezTo>
                    <a:pt x="3305" y="31"/>
                    <a:pt x="3299" y="33"/>
                    <a:pt x="3293" y="35"/>
                  </a:cubicBezTo>
                  <a:cubicBezTo>
                    <a:pt x="3286" y="38"/>
                    <a:pt x="3280" y="40"/>
                    <a:pt x="3274" y="42"/>
                  </a:cubicBezTo>
                  <a:cubicBezTo>
                    <a:pt x="3262" y="47"/>
                    <a:pt x="3250" y="52"/>
                    <a:pt x="3239" y="56"/>
                  </a:cubicBezTo>
                  <a:cubicBezTo>
                    <a:pt x="3228" y="61"/>
                    <a:pt x="3217" y="66"/>
                    <a:pt x="3208" y="70"/>
                  </a:cubicBezTo>
                  <a:cubicBezTo>
                    <a:pt x="3199" y="74"/>
                    <a:pt x="3189" y="79"/>
                    <a:pt x="3182" y="83"/>
                  </a:cubicBezTo>
                  <a:cubicBezTo>
                    <a:pt x="3173" y="87"/>
                    <a:pt x="3162" y="93"/>
                    <a:pt x="3151" y="99"/>
                  </a:cubicBezTo>
                  <a:cubicBezTo>
                    <a:pt x="3132" y="108"/>
                    <a:pt x="3110" y="120"/>
                    <a:pt x="3086" y="132"/>
                  </a:cubicBezTo>
                  <a:cubicBezTo>
                    <a:pt x="3080" y="136"/>
                    <a:pt x="3073" y="139"/>
                    <a:pt x="3067" y="142"/>
                  </a:cubicBezTo>
                  <a:cubicBezTo>
                    <a:pt x="3060" y="146"/>
                    <a:pt x="3054" y="149"/>
                    <a:pt x="3047" y="153"/>
                  </a:cubicBezTo>
                  <a:cubicBezTo>
                    <a:pt x="3033" y="160"/>
                    <a:pt x="3020" y="167"/>
                    <a:pt x="3006" y="174"/>
                  </a:cubicBezTo>
                  <a:cubicBezTo>
                    <a:pt x="3006" y="174"/>
                    <a:pt x="3006" y="174"/>
                    <a:pt x="3006" y="174"/>
                  </a:cubicBezTo>
                  <a:cubicBezTo>
                    <a:pt x="2992" y="181"/>
                    <a:pt x="2978" y="189"/>
                    <a:pt x="2964" y="196"/>
                  </a:cubicBezTo>
                  <a:cubicBezTo>
                    <a:pt x="2940" y="209"/>
                    <a:pt x="2917" y="220"/>
                    <a:pt x="2897" y="231"/>
                  </a:cubicBezTo>
                  <a:cubicBezTo>
                    <a:pt x="2876" y="242"/>
                    <a:pt x="2857" y="251"/>
                    <a:pt x="2841" y="258"/>
                  </a:cubicBezTo>
                  <a:cubicBezTo>
                    <a:pt x="2830" y="264"/>
                    <a:pt x="2821" y="267"/>
                    <a:pt x="2809" y="273"/>
                  </a:cubicBezTo>
                  <a:cubicBezTo>
                    <a:pt x="2789" y="283"/>
                    <a:pt x="2766" y="295"/>
                    <a:pt x="2740" y="309"/>
                  </a:cubicBezTo>
                  <a:cubicBezTo>
                    <a:pt x="2714" y="323"/>
                    <a:pt x="2687" y="338"/>
                    <a:pt x="2661" y="353"/>
                  </a:cubicBezTo>
                  <a:cubicBezTo>
                    <a:pt x="2660" y="354"/>
                    <a:pt x="2659" y="354"/>
                    <a:pt x="2658" y="355"/>
                  </a:cubicBezTo>
                  <a:cubicBezTo>
                    <a:pt x="2656" y="356"/>
                    <a:pt x="2655" y="357"/>
                    <a:pt x="2653" y="358"/>
                  </a:cubicBezTo>
                  <a:cubicBezTo>
                    <a:pt x="2639" y="366"/>
                    <a:pt x="2626" y="374"/>
                    <a:pt x="2612" y="382"/>
                  </a:cubicBezTo>
                  <a:cubicBezTo>
                    <a:pt x="2589" y="396"/>
                    <a:pt x="2566" y="411"/>
                    <a:pt x="2545" y="424"/>
                  </a:cubicBezTo>
                  <a:cubicBezTo>
                    <a:pt x="2535" y="430"/>
                    <a:pt x="2526" y="437"/>
                    <a:pt x="2517" y="442"/>
                  </a:cubicBezTo>
                  <a:cubicBezTo>
                    <a:pt x="2509" y="448"/>
                    <a:pt x="2499" y="454"/>
                    <a:pt x="2493" y="459"/>
                  </a:cubicBezTo>
                  <a:cubicBezTo>
                    <a:pt x="2485" y="465"/>
                    <a:pt x="2474" y="472"/>
                    <a:pt x="2464" y="479"/>
                  </a:cubicBezTo>
                  <a:cubicBezTo>
                    <a:pt x="2446" y="491"/>
                    <a:pt x="2424" y="505"/>
                    <a:pt x="2401" y="519"/>
                  </a:cubicBezTo>
                  <a:cubicBezTo>
                    <a:pt x="2377" y="535"/>
                    <a:pt x="2350" y="551"/>
                    <a:pt x="2324" y="567"/>
                  </a:cubicBezTo>
                  <a:cubicBezTo>
                    <a:pt x="2324" y="567"/>
                    <a:pt x="2324" y="567"/>
                    <a:pt x="2324" y="567"/>
                  </a:cubicBezTo>
                  <a:cubicBezTo>
                    <a:pt x="2310" y="575"/>
                    <a:pt x="2295" y="583"/>
                    <a:pt x="2282" y="591"/>
                  </a:cubicBezTo>
                  <a:cubicBezTo>
                    <a:pt x="2235" y="617"/>
                    <a:pt x="2192" y="641"/>
                    <a:pt x="2160" y="656"/>
                  </a:cubicBezTo>
                  <a:cubicBezTo>
                    <a:pt x="2149" y="662"/>
                    <a:pt x="2140" y="666"/>
                    <a:pt x="2128" y="672"/>
                  </a:cubicBezTo>
                  <a:cubicBezTo>
                    <a:pt x="2108" y="681"/>
                    <a:pt x="2084" y="694"/>
                    <a:pt x="2059" y="707"/>
                  </a:cubicBezTo>
                  <a:cubicBezTo>
                    <a:pt x="2033" y="721"/>
                    <a:pt x="2005" y="736"/>
                    <a:pt x="1978" y="750"/>
                  </a:cubicBezTo>
                  <a:cubicBezTo>
                    <a:pt x="1975" y="752"/>
                    <a:pt x="1975" y="752"/>
                    <a:pt x="1975" y="752"/>
                  </a:cubicBezTo>
                  <a:cubicBezTo>
                    <a:pt x="1974" y="753"/>
                    <a:pt x="1972" y="754"/>
                    <a:pt x="1970" y="755"/>
                  </a:cubicBezTo>
                  <a:cubicBezTo>
                    <a:pt x="1967" y="757"/>
                    <a:pt x="1963" y="759"/>
                    <a:pt x="1960" y="761"/>
                  </a:cubicBezTo>
                  <a:cubicBezTo>
                    <a:pt x="1949" y="766"/>
                    <a:pt x="1949" y="766"/>
                    <a:pt x="1949" y="766"/>
                  </a:cubicBezTo>
                  <a:cubicBezTo>
                    <a:pt x="1942" y="770"/>
                    <a:pt x="1935" y="773"/>
                    <a:pt x="1928" y="777"/>
                  </a:cubicBezTo>
                  <a:cubicBezTo>
                    <a:pt x="1903" y="790"/>
                    <a:pt x="1879" y="802"/>
                    <a:pt x="1857" y="814"/>
                  </a:cubicBezTo>
                  <a:cubicBezTo>
                    <a:pt x="1847" y="820"/>
                    <a:pt x="1837" y="825"/>
                    <a:pt x="1828" y="830"/>
                  </a:cubicBezTo>
                  <a:cubicBezTo>
                    <a:pt x="1819" y="835"/>
                    <a:pt x="1809" y="840"/>
                    <a:pt x="1802" y="844"/>
                  </a:cubicBezTo>
                  <a:cubicBezTo>
                    <a:pt x="1793" y="849"/>
                    <a:pt x="1782" y="855"/>
                    <a:pt x="1770" y="861"/>
                  </a:cubicBezTo>
                  <a:cubicBezTo>
                    <a:pt x="1760" y="866"/>
                    <a:pt x="1750" y="871"/>
                    <a:pt x="1738" y="877"/>
                  </a:cubicBezTo>
                  <a:cubicBezTo>
                    <a:pt x="1732" y="879"/>
                    <a:pt x="1726" y="882"/>
                    <a:pt x="1720" y="885"/>
                  </a:cubicBezTo>
                  <a:cubicBezTo>
                    <a:pt x="1714" y="887"/>
                    <a:pt x="1708" y="890"/>
                    <a:pt x="1701" y="892"/>
                  </a:cubicBezTo>
                  <a:cubicBezTo>
                    <a:pt x="1694" y="895"/>
                    <a:pt x="1687" y="898"/>
                    <a:pt x="1679" y="900"/>
                  </a:cubicBezTo>
                  <a:cubicBezTo>
                    <a:pt x="1672" y="903"/>
                    <a:pt x="1664" y="905"/>
                    <a:pt x="1656" y="908"/>
                  </a:cubicBezTo>
                  <a:cubicBezTo>
                    <a:pt x="1641" y="912"/>
                    <a:pt x="1624" y="916"/>
                    <a:pt x="1607" y="918"/>
                  </a:cubicBezTo>
                  <a:cubicBezTo>
                    <a:pt x="1607" y="918"/>
                    <a:pt x="1607" y="918"/>
                    <a:pt x="1607" y="918"/>
                  </a:cubicBezTo>
                  <a:cubicBezTo>
                    <a:pt x="1599" y="919"/>
                    <a:pt x="1590" y="920"/>
                    <a:pt x="1582" y="921"/>
                  </a:cubicBezTo>
                  <a:cubicBezTo>
                    <a:pt x="1573" y="921"/>
                    <a:pt x="1565" y="922"/>
                    <a:pt x="1557" y="922"/>
                  </a:cubicBezTo>
                  <a:cubicBezTo>
                    <a:pt x="1530" y="923"/>
                    <a:pt x="1505" y="924"/>
                    <a:pt x="1482" y="925"/>
                  </a:cubicBezTo>
                  <a:cubicBezTo>
                    <a:pt x="1476" y="925"/>
                    <a:pt x="1470" y="925"/>
                    <a:pt x="1465" y="925"/>
                  </a:cubicBezTo>
                  <a:cubicBezTo>
                    <a:pt x="1459" y="926"/>
                    <a:pt x="1453" y="926"/>
                    <a:pt x="1448" y="926"/>
                  </a:cubicBezTo>
                  <a:cubicBezTo>
                    <a:pt x="1442" y="926"/>
                    <a:pt x="1437" y="926"/>
                    <a:pt x="1432" y="926"/>
                  </a:cubicBezTo>
                  <a:cubicBezTo>
                    <a:pt x="1427" y="926"/>
                    <a:pt x="1422" y="925"/>
                    <a:pt x="1418" y="925"/>
                  </a:cubicBezTo>
                  <a:cubicBezTo>
                    <a:pt x="1412" y="925"/>
                    <a:pt x="1406" y="925"/>
                    <a:pt x="1400" y="924"/>
                  </a:cubicBezTo>
                  <a:cubicBezTo>
                    <a:pt x="1394" y="924"/>
                    <a:pt x="1388" y="923"/>
                    <a:pt x="1381" y="922"/>
                  </a:cubicBezTo>
                  <a:cubicBezTo>
                    <a:pt x="1376" y="922"/>
                    <a:pt x="1370" y="922"/>
                    <a:pt x="1364" y="921"/>
                  </a:cubicBezTo>
                  <a:cubicBezTo>
                    <a:pt x="1358" y="920"/>
                    <a:pt x="1352" y="920"/>
                    <a:pt x="1345" y="919"/>
                  </a:cubicBezTo>
                  <a:cubicBezTo>
                    <a:pt x="1332" y="918"/>
                    <a:pt x="1318" y="917"/>
                    <a:pt x="1303" y="915"/>
                  </a:cubicBezTo>
                  <a:cubicBezTo>
                    <a:pt x="1289" y="914"/>
                    <a:pt x="1273" y="912"/>
                    <a:pt x="1258" y="910"/>
                  </a:cubicBezTo>
                  <a:cubicBezTo>
                    <a:pt x="1243" y="909"/>
                    <a:pt x="1228" y="907"/>
                    <a:pt x="1212" y="905"/>
                  </a:cubicBezTo>
                  <a:cubicBezTo>
                    <a:pt x="1211" y="905"/>
                    <a:pt x="1210" y="905"/>
                    <a:pt x="1209" y="905"/>
                  </a:cubicBezTo>
                  <a:cubicBezTo>
                    <a:pt x="1207" y="904"/>
                    <a:pt x="1205" y="904"/>
                    <a:pt x="1203" y="904"/>
                  </a:cubicBezTo>
                  <a:cubicBezTo>
                    <a:pt x="1187" y="902"/>
                    <a:pt x="1171" y="901"/>
                    <a:pt x="1156" y="899"/>
                  </a:cubicBezTo>
                  <a:cubicBezTo>
                    <a:pt x="1129" y="896"/>
                    <a:pt x="1102" y="894"/>
                    <a:pt x="1078" y="892"/>
                  </a:cubicBezTo>
                  <a:cubicBezTo>
                    <a:pt x="1066" y="892"/>
                    <a:pt x="1054" y="891"/>
                    <a:pt x="1045" y="891"/>
                  </a:cubicBezTo>
                  <a:cubicBezTo>
                    <a:pt x="1034" y="891"/>
                    <a:pt x="1023" y="891"/>
                    <a:pt x="1015" y="891"/>
                  </a:cubicBezTo>
                  <a:cubicBezTo>
                    <a:pt x="1006" y="891"/>
                    <a:pt x="993" y="892"/>
                    <a:pt x="980" y="892"/>
                  </a:cubicBezTo>
                  <a:cubicBezTo>
                    <a:pt x="970" y="892"/>
                    <a:pt x="959" y="893"/>
                    <a:pt x="947" y="893"/>
                  </a:cubicBezTo>
                  <a:cubicBezTo>
                    <a:pt x="935" y="894"/>
                    <a:pt x="922" y="895"/>
                    <a:pt x="909" y="896"/>
                  </a:cubicBezTo>
                  <a:cubicBezTo>
                    <a:pt x="880" y="898"/>
                    <a:pt x="849" y="900"/>
                    <a:pt x="819" y="902"/>
                  </a:cubicBezTo>
                  <a:cubicBezTo>
                    <a:pt x="819" y="902"/>
                    <a:pt x="819" y="902"/>
                    <a:pt x="819" y="902"/>
                  </a:cubicBezTo>
                  <a:cubicBezTo>
                    <a:pt x="803" y="903"/>
                    <a:pt x="786" y="904"/>
                    <a:pt x="771" y="905"/>
                  </a:cubicBezTo>
                  <a:cubicBezTo>
                    <a:pt x="745" y="908"/>
                    <a:pt x="720" y="910"/>
                    <a:pt x="697" y="913"/>
                  </a:cubicBezTo>
                  <a:cubicBezTo>
                    <a:pt x="686" y="914"/>
                    <a:pt x="675" y="915"/>
                    <a:pt x="665" y="917"/>
                  </a:cubicBezTo>
                  <a:cubicBezTo>
                    <a:pt x="655" y="918"/>
                    <a:pt x="646" y="919"/>
                    <a:pt x="637" y="921"/>
                  </a:cubicBezTo>
                  <a:cubicBezTo>
                    <a:pt x="625" y="922"/>
                    <a:pt x="616" y="923"/>
                    <a:pt x="604" y="926"/>
                  </a:cubicBezTo>
                  <a:cubicBezTo>
                    <a:pt x="593" y="928"/>
                    <a:pt x="582" y="931"/>
                    <a:pt x="570" y="935"/>
                  </a:cubicBezTo>
                  <a:cubicBezTo>
                    <a:pt x="564" y="937"/>
                    <a:pt x="558" y="939"/>
                    <a:pt x="551" y="941"/>
                  </a:cubicBezTo>
                  <a:cubicBezTo>
                    <a:pt x="545" y="943"/>
                    <a:pt x="539" y="946"/>
                    <a:pt x="532" y="948"/>
                  </a:cubicBezTo>
                  <a:cubicBezTo>
                    <a:pt x="506" y="959"/>
                    <a:pt x="480" y="973"/>
                    <a:pt x="455" y="990"/>
                  </a:cubicBezTo>
                  <a:cubicBezTo>
                    <a:pt x="455" y="990"/>
                    <a:pt x="454" y="991"/>
                    <a:pt x="453" y="992"/>
                  </a:cubicBezTo>
                  <a:cubicBezTo>
                    <a:pt x="451" y="993"/>
                    <a:pt x="449" y="994"/>
                    <a:pt x="448" y="995"/>
                  </a:cubicBezTo>
                  <a:cubicBezTo>
                    <a:pt x="442" y="1000"/>
                    <a:pt x="435" y="1004"/>
                    <a:pt x="429" y="1009"/>
                  </a:cubicBezTo>
                  <a:cubicBezTo>
                    <a:pt x="423" y="1014"/>
                    <a:pt x="417" y="1018"/>
                    <a:pt x="412" y="1023"/>
                  </a:cubicBezTo>
                  <a:cubicBezTo>
                    <a:pt x="391" y="1040"/>
                    <a:pt x="372" y="1059"/>
                    <a:pt x="356" y="1076"/>
                  </a:cubicBezTo>
                  <a:cubicBezTo>
                    <a:pt x="348" y="1085"/>
                    <a:pt x="340" y="1093"/>
                    <a:pt x="334" y="1101"/>
                  </a:cubicBezTo>
                  <a:cubicBezTo>
                    <a:pt x="328" y="1109"/>
                    <a:pt x="321" y="1118"/>
                    <a:pt x="316" y="1124"/>
                  </a:cubicBezTo>
                  <a:cubicBezTo>
                    <a:pt x="311" y="1132"/>
                    <a:pt x="303" y="1142"/>
                    <a:pt x="296" y="1152"/>
                  </a:cubicBezTo>
                  <a:cubicBezTo>
                    <a:pt x="290" y="1160"/>
                    <a:pt x="283" y="1170"/>
                    <a:pt x="276" y="1180"/>
                  </a:cubicBezTo>
                  <a:cubicBezTo>
                    <a:pt x="268" y="1190"/>
                    <a:pt x="261" y="1200"/>
                    <a:pt x="254" y="1211"/>
                  </a:cubicBezTo>
                  <a:cubicBezTo>
                    <a:pt x="237" y="1234"/>
                    <a:pt x="220" y="1259"/>
                    <a:pt x="203" y="1285"/>
                  </a:cubicBezTo>
                  <a:cubicBezTo>
                    <a:pt x="205" y="1286"/>
                    <a:pt x="205" y="1286"/>
                    <a:pt x="205" y="1286"/>
                  </a:cubicBezTo>
                  <a:cubicBezTo>
                    <a:pt x="213" y="1273"/>
                    <a:pt x="223" y="1259"/>
                    <a:pt x="232" y="1247"/>
                  </a:cubicBezTo>
                  <a:cubicBezTo>
                    <a:pt x="262" y="1204"/>
                    <a:pt x="293" y="1167"/>
                    <a:pt x="317" y="1143"/>
                  </a:cubicBezTo>
                  <a:cubicBezTo>
                    <a:pt x="322" y="1139"/>
                    <a:pt x="325" y="1135"/>
                    <a:pt x="329" y="1131"/>
                  </a:cubicBezTo>
                  <a:cubicBezTo>
                    <a:pt x="333" y="1127"/>
                    <a:pt x="337" y="1124"/>
                    <a:pt x="342" y="1119"/>
                  </a:cubicBezTo>
                  <a:cubicBezTo>
                    <a:pt x="349" y="1112"/>
                    <a:pt x="358" y="1104"/>
                    <a:pt x="367" y="1095"/>
                  </a:cubicBezTo>
                  <a:cubicBezTo>
                    <a:pt x="372" y="1091"/>
                    <a:pt x="376" y="1087"/>
                    <a:pt x="381" y="1082"/>
                  </a:cubicBezTo>
                  <a:cubicBezTo>
                    <a:pt x="384" y="1080"/>
                    <a:pt x="386" y="1078"/>
                    <a:pt x="389" y="1076"/>
                  </a:cubicBezTo>
                  <a:cubicBezTo>
                    <a:pt x="391" y="1073"/>
                    <a:pt x="394" y="1071"/>
                    <a:pt x="396" y="1069"/>
                  </a:cubicBezTo>
                  <a:cubicBezTo>
                    <a:pt x="407" y="1060"/>
                    <a:pt x="418" y="1051"/>
                    <a:pt x="429" y="1042"/>
                  </a:cubicBezTo>
                  <a:cubicBezTo>
                    <a:pt x="434" y="1038"/>
                    <a:pt x="440" y="1033"/>
                    <a:pt x="446" y="1029"/>
                  </a:cubicBezTo>
                  <a:cubicBezTo>
                    <a:pt x="451" y="1025"/>
                    <a:pt x="457" y="1021"/>
                    <a:pt x="463" y="1016"/>
                  </a:cubicBezTo>
                  <a:cubicBezTo>
                    <a:pt x="464" y="1015"/>
                    <a:pt x="466" y="1014"/>
                    <a:pt x="467" y="1013"/>
                  </a:cubicBezTo>
                  <a:cubicBezTo>
                    <a:pt x="468" y="1013"/>
                    <a:pt x="469" y="1012"/>
                    <a:pt x="470" y="1011"/>
                  </a:cubicBezTo>
                  <a:cubicBezTo>
                    <a:pt x="476" y="1007"/>
                    <a:pt x="482" y="1003"/>
                    <a:pt x="488" y="1000"/>
                  </a:cubicBezTo>
                  <a:cubicBezTo>
                    <a:pt x="495" y="996"/>
                    <a:pt x="501" y="992"/>
                    <a:pt x="507" y="989"/>
                  </a:cubicBezTo>
                  <a:cubicBezTo>
                    <a:pt x="529" y="976"/>
                    <a:pt x="551" y="965"/>
                    <a:pt x="572" y="957"/>
                  </a:cubicBezTo>
                  <a:cubicBezTo>
                    <a:pt x="577" y="955"/>
                    <a:pt x="582" y="953"/>
                    <a:pt x="587" y="951"/>
                  </a:cubicBezTo>
                  <a:cubicBezTo>
                    <a:pt x="592" y="949"/>
                    <a:pt x="597" y="947"/>
                    <a:pt x="601" y="946"/>
                  </a:cubicBezTo>
                  <a:cubicBezTo>
                    <a:pt x="610" y="943"/>
                    <a:pt x="620" y="939"/>
                    <a:pt x="627" y="936"/>
                  </a:cubicBezTo>
                  <a:cubicBezTo>
                    <a:pt x="632" y="935"/>
                    <a:pt x="637" y="933"/>
                    <a:pt x="642" y="931"/>
                  </a:cubicBezTo>
                  <a:cubicBezTo>
                    <a:pt x="648" y="930"/>
                    <a:pt x="654" y="928"/>
                    <a:pt x="660" y="927"/>
                  </a:cubicBezTo>
                  <a:cubicBezTo>
                    <a:pt x="669" y="924"/>
                    <a:pt x="681" y="922"/>
                    <a:pt x="692" y="919"/>
                  </a:cubicBezTo>
                  <a:cubicBezTo>
                    <a:pt x="698" y="918"/>
                    <a:pt x="704" y="917"/>
                    <a:pt x="711" y="916"/>
                  </a:cubicBezTo>
                  <a:cubicBezTo>
                    <a:pt x="717" y="915"/>
                    <a:pt x="723" y="914"/>
                    <a:pt x="730" y="913"/>
                  </a:cubicBezTo>
                  <a:cubicBezTo>
                    <a:pt x="758" y="909"/>
                    <a:pt x="788" y="906"/>
                    <a:pt x="819" y="904"/>
                  </a:cubicBezTo>
                  <a:cubicBezTo>
                    <a:pt x="819" y="904"/>
                    <a:pt x="819" y="904"/>
                    <a:pt x="819" y="904"/>
                  </a:cubicBezTo>
                  <a:cubicBezTo>
                    <a:pt x="834" y="902"/>
                    <a:pt x="851" y="902"/>
                    <a:pt x="866" y="901"/>
                  </a:cubicBezTo>
                  <a:cubicBezTo>
                    <a:pt x="880" y="900"/>
                    <a:pt x="893" y="900"/>
                    <a:pt x="905" y="899"/>
                  </a:cubicBezTo>
                  <a:cubicBezTo>
                    <a:pt x="912" y="899"/>
                    <a:pt x="918" y="899"/>
                    <a:pt x="924" y="899"/>
                  </a:cubicBezTo>
                  <a:cubicBezTo>
                    <a:pt x="930" y="899"/>
                    <a:pt x="935" y="899"/>
                    <a:pt x="941" y="899"/>
                  </a:cubicBezTo>
                  <a:cubicBezTo>
                    <a:pt x="963" y="900"/>
                    <a:pt x="984" y="901"/>
                    <a:pt x="1001" y="903"/>
                  </a:cubicBezTo>
                  <a:cubicBezTo>
                    <a:pt x="1013" y="905"/>
                    <a:pt x="1022" y="907"/>
                    <a:pt x="1035" y="908"/>
                  </a:cubicBezTo>
                  <a:cubicBezTo>
                    <a:pt x="1057" y="911"/>
                    <a:pt x="1083" y="915"/>
                    <a:pt x="1110" y="919"/>
                  </a:cubicBezTo>
                  <a:cubicBezTo>
                    <a:pt x="1139" y="922"/>
                    <a:pt x="1170" y="926"/>
                    <a:pt x="1200" y="930"/>
                  </a:cubicBezTo>
                  <a:cubicBezTo>
                    <a:pt x="1202" y="930"/>
                    <a:pt x="1204" y="930"/>
                    <a:pt x="1206" y="931"/>
                  </a:cubicBezTo>
                  <a:cubicBezTo>
                    <a:pt x="1207" y="931"/>
                    <a:pt x="1209" y="931"/>
                    <a:pt x="1210" y="931"/>
                  </a:cubicBezTo>
                  <a:cubicBezTo>
                    <a:pt x="1225" y="933"/>
                    <a:pt x="1242" y="934"/>
                    <a:pt x="1257" y="936"/>
                  </a:cubicBezTo>
                  <a:cubicBezTo>
                    <a:pt x="1271" y="937"/>
                    <a:pt x="1285" y="938"/>
                    <a:pt x="1299" y="939"/>
                  </a:cubicBezTo>
                  <a:cubicBezTo>
                    <a:pt x="1312" y="939"/>
                    <a:pt x="1325" y="940"/>
                    <a:pt x="1338" y="940"/>
                  </a:cubicBezTo>
                  <a:cubicBezTo>
                    <a:pt x="1350" y="940"/>
                    <a:pt x="1362" y="941"/>
                    <a:pt x="1373" y="940"/>
                  </a:cubicBezTo>
                  <a:cubicBezTo>
                    <a:pt x="1383" y="940"/>
                    <a:pt x="1395" y="940"/>
                    <a:pt x="1403" y="939"/>
                  </a:cubicBezTo>
                  <a:cubicBezTo>
                    <a:pt x="1409" y="938"/>
                    <a:pt x="1415" y="938"/>
                    <a:pt x="1421" y="937"/>
                  </a:cubicBezTo>
                  <a:cubicBezTo>
                    <a:pt x="1427" y="936"/>
                    <a:pt x="1434" y="936"/>
                    <a:pt x="1441" y="935"/>
                  </a:cubicBezTo>
                  <a:cubicBezTo>
                    <a:pt x="1446" y="934"/>
                    <a:pt x="1452" y="934"/>
                    <a:pt x="1458" y="933"/>
                  </a:cubicBezTo>
                  <a:cubicBezTo>
                    <a:pt x="1461" y="933"/>
                    <a:pt x="1464" y="932"/>
                    <a:pt x="1468" y="932"/>
                  </a:cubicBezTo>
                  <a:cubicBezTo>
                    <a:pt x="1470" y="932"/>
                    <a:pt x="1473" y="931"/>
                    <a:pt x="1476" y="931"/>
                  </a:cubicBezTo>
                  <a:cubicBezTo>
                    <a:pt x="1483" y="930"/>
                    <a:pt x="1489" y="930"/>
                    <a:pt x="1495" y="929"/>
                  </a:cubicBezTo>
                  <a:cubicBezTo>
                    <a:pt x="1501" y="928"/>
                    <a:pt x="1508" y="928"/>
                    <a:pt x="1514" y="927"/>
                  </a:cubicBezTo>
                  <a:cubicBezTo>
                    <a:pt x="1529" y="926"/>
                    <a:pt x="1543" y="925"/>
                    <a:pt x="1559" y="924"/>
                  </a:cubicBezTo>
                  <a:cubicBezTo>
                    <a:pt x="1574" y="923"/>
                    <a:pt x="1591" y="922"/>
                    <a:pt x="1608" y="919"/>
                  </a:cubicBezTo>
                  <a:cubicBezTo>
                    <a:pt x="1608" y="919"/>
                    <a:pt x="1608" y="919"/>
                    <a:pt x="1608" y="919"/>
                  </a:cubicBezTo>
                  <a:cubicBezTo>
                    <a:pt x="1616" y="918"/>
                    <a:pt x="1625" y="917"/>
                    <a:pt x="1634" y="915"/>
                  </a:cubicBezTo>
                  <a:cubicBezTo>
                    <a:pt x="1642" y="913"/>
                    <a:pt x="1651" y="911"/>
                    <a:pt x="1659" y="909"/>
                  </a:cubicBezTo>
                  <a:cubicBezTo>
                    <a:pt x="1666" y="907"/>
                    <a:pt x="1673" y="905"/>
                    <a:pt x="1679" y="903"/>
                  </a:cubicBezTo>
                  <a:cubicBezTo>
                    <a:pt x="1686" y="901"/>
                    <a:pt x="1692" y="899"/>
                    <a:pt x="1699" y="897"/>
                  </a:cubicBezTo>
                  <a:cubicBezTo>
                    <a:pt x="1711" y="893"/>
                    <a:pt x="1723" y="888"/>
                    <a:pt x="1735" y="884"/>
                  </a:cubicBezTo>
                  <a:cubicBezTo>
                    <a:pt x="1757" y="876"/>
                    <a:pt x="1777" y="869"/>
                    <a:pt x="1794" y="862"/>
                  </a:cubicBezTo>
                  <a:cubicBezTo>
                    <a:pt x="1806" y="858"/>
                    <a:pt x="1815" y="855"/>
                    <a:pt x="1828" y="850"/>
                  </a:cubicBezTo>
                  <a:cubicBezTo>
                    <a:pt x="1838" y="846"/>
                    <a:pt x="1849" y="841"/>
                    <a:pt x="1862" y="836"/>
                  </a:cubicBezTo>
                  <a:cubicBezTo>
                    <a:pt x="1874" y="831"/>
                    <a:pt x="1886" y="825"/>
                    <a:pt x="1900" y="819"/>
                  </a:cubicBezTo>
                  <a:cubicBezTo>
                    <a:pt x="1913" y="813"/>
                    <a:pt x="1927" y="806"/>
                    <a:pt x="1941" y="799"/>
                  </a:cubicBezTo>
                  <a:cubicBezTo>
                    <a:pt x="1955" y="792"/>
                    <a:pt x="1969" y="785"/>
                    <a:pt x="1982" y="778"/>
                  </a:cubicBezTo>
                  <a:cubicBezTo>
                    <a:pt x="1984" y="777"/>
                    <a:pt x="1986" y="776"/>
                    <a:pt x="1988" y="775"/>
                  </a:cubicBezTo>
                  <a:cubicBezTo>
                    <a:pt x="1989" y="774"/>
                    <a:pt x="1990" y="774"/>
                    <a:pt x="1991" y="773"/>
                  </a:cubicBezTo>
                  <a:cubicBezTo>
                    <a:pt x="2005" y="765"/>
                    <a:pt x="2019" y="758"/>
                    <a:pt x="2033" y="750"/>
                  </a:cubicBezTo>
                  <a:cubicBezTo>
                    <a:pt x="2057" y="736"/>
                    <a:pt x="2080" y="722"/>
                    <a:pt x="2101" y="710"/>
                  </a:cubicBezTo>
                  <a:cubicBezTo>
                    <a:pt x="2112" y="703"/>
                    <a:pt x="2121" y="697"/>
                    <a:pt x="2130" y="692"/>
                  </a:cubicBezTo>
                  <a:cubicBezTo>
                    <a:pt x="2138" y="686"/>
                    <a:pt x="2148" y="680"/>
                    <a:pt x="2154" y="675"/>
                  </a:cubicBezTo>
                  <a:cubicBezTo>
                    <a:pt x="2162" y="669"/>
                    <a:pt x="2173" y="662"/>
                    <a:pt x="2184" y="655"/>
                  </a:cubicBezTo>
                  <a:cubicBezTo>
                    <a:pt x="2201" y="643"/>
                    <a:pt x="2224" y="629"/>
                    <a:pt x="2246" y="615"/>
                  </a:cubicBezTo>
                  <a:cubicBezTo>
                    <a:pt x="2271" y="600"/>
                    <a:pt x="2297" y="584"/>
                    <a:pt x="2324" y="568"/>
                  </a:cubicBezTo>
                  <a:cubicBezTo>
                    <a:pt x="2324" y="568"/>
                    <a:pt x="2324" y="568"/>
                    <a:pt x="2324" y="568"/>
                  </a:cubicBezTo>
                  <a:cubicBezTo>
                    <a:pt x="2338" y="560"/>
                    <a:pt x="2352" y="552"/>
                    <a:pt x="2366" y="544"/>
                  </a:cubicBezTo>
                  <a:cubicBezTo>
                    <a:pt x="2412" y="517"/>
                    <a:pt x="2456" y="493"/>
                    <a:pt x="2487" y="478"/>
                  </a:cubicBezTo>
                  <a:cubicBezTo>
                    <a:pt x="2499" y="472"/>
                    <a:pt x="2507" y="468"/>
                    <a:pt x="2519" y="462"/>
                  </a:cubicBezTo>
                  <a:cubicBezTo>
                    <a:pt x="2558" y="442"/>
                    <a:pt x="2614" y="411"/>
                    <a:pt x="2666" y="381"/>
                  </a:cubicBezTo>
                  <a:cubicBezTo>
                    <a:pt x="2668" y="380"/>
                    <a:pt x="2670" y="379"/>
                    <a:pt x="2671" y="378"/>
                  </a:cubicBezTo>
                  <a:cubicBezTo>
                    <a:pt x="2672" y="377"/>
                    <a:pt x="2673" y="376"/>
                    <a:pt x="2674" y="376"/>
                  </a:cubicBezTo>
                  <a:cubicBezTo>
                    <a:pt x="2688" y="368"/>
                    <a:pt x="2702" y="360"/>
                    <a:pt x="2715" y="352"/>
                  </a:cubicBezTo>
                  <a:cubicBezTo>
                    <a:pt x="2738" y="338"/>
                    <a:pt x="2762" y="324"/>
                    <a:pt x="2782" y="311"/>
                  </a:cubicBezTo>
                  <a:cubicBezTo>
                    <a:pt x="2793" y="305"/>
                    <a:pt x="2802" y="299"/>
                    <a:pt x="2810" y="293"/>
                  </a:cubicBezTo>
                  <a:cubicBezTo>
                    <a:pt x="2819" y="287"/>
                    <a:pt x="2829" y="281"/>
                    <a:pt x="2835" y="277"/>
                  </a:cubicBezTo>
                  <a:cubicBezTo>
                    <a:pt x="2843" y="271"/>
                    <a:pt x="2854" y="264"/>
                    <a:pt x="2865" y="257"/>
                  </a:cubicBezTo>
                  <a:cubicBezTo>
                    <a:pt x="2882" y="246"/>
                    <a:pt x="2905" y="232"/>
                    <a:pt x="2928" y="219"/>
                  </a:cubicBezTo>
                  <a:cubicBezTo>
                    <a:pt x="2940" y="212"/>
                    <a:pt x="2953" y="205"/>
                    <a:pt x="2966" y="197"/>
                  </a:cubicBezTo>
                  <a:cubicBezTo>
                    <a:pt x="2980" y="190"/>
                    <a:pt x="2993" y="182"/>
                    <a:pt x="3007" y="175"/>
                  </a:cubicBezTo>
                  <a:cubicBezTo>
                    <a:pt x="3007" y="175"/>
                    <a:pt x="3007" y="175"/>
                    <a:pt x="3007" y="175"/>
                  </a:cubicBezTo>
                  <a:cubicBezTo>
                    <a:pt x="3021" y="168"/>
                    <a:pt x="3036" y="161"/>
                    <a:pt x="3050" y="154"/>
                  </a:cubicBezTo>
                  <a:cubicBezTo>
                    <a:pt x="3097" y="130"/>
                    <a:pt x="3142" y="111"/>
                    <a:pt x="3174" y="100"/>
                  </a:cubicBezTo>
                  <a:cubicBezTo>
                    <a:pt x="3186" y="96"/>
                    <a:pt x="3195" y="93"/>
                    <a:pt x="3207" y="90"/>
                  </a:cubicBezTo>
                  <a:cubicBezTo>
                    <a:pt x="3248" y="77"/>
                    <a:pt x="3307" y="56"/>
                    <a:pt x="3363" y="41"/>
                  </a:cubicBezTo>
                  <a:cubicBezTo>
                    <a:pt x="3365" y="41"/>
                    <a:pt x="3366" y="40"/>
                    <a:pt x="3368" y="40"/>
                  </a:cubicBezTo>
                  <a:cubicBezTo>
                    <a:pt x="3369" y="39"/>
                    <a:pt x="3370" y="39"/>
                    <a:pt x="3372" y="39"/>
                  </a:cubicBezTo>
                  <a:cubicBezTo>
                    <a:pt x="3375" y="38"/>
                    <a:pt x="3379" y="37"/>
                    <a:pt x="3382" y="36"/>
                  </a:cubicBezTo>
                  <a:cubicBezTo>
                    <a:pt x="3393" y="34"/>
                    <a:pt x="3393" y="34"/>
                    <a:pt x="3393" y="34"/>
                  </a:cubicBezTo>
                  <a:cubicBezTo>
                    <a:pt x="3400" y="32"/>
                    <a:pt x="3407" y="30"/>
                    <a:pt x="3414" y="30"/>
                  </a:cubicBezTo>
                  <a:cubicBezTo>
                    <a:pt x="3420" y="29"/>
                    <a:pt x="3426" y="28"/>
                    <a:pt x="3432" y="27"/>
                  </a:cubicBezTo>
                  <a:cubicBezTo>
                    <a:pt x="3437" y="26"/>
                    <a:pt x="3437" y="26"/>
                    <a:pt x="3437" y="26"/>
                  </a:cubicBezTo>
                  <a:cubicBezTo>
                    <a:pt x="3441" y="25"/>
                    <a:pt x="3441" y="25"/>
                    <a:pt x="3441" y="25"/>
                  </a:cubicBezTo>
                  <a:cubicBezTo>
                    <a:pt x="3444" y="25"/>
                    <a:pt x="3447" y="25"/>
                    <a:pt x="3450" y="25"/>
                  </a:cubicBezTo>
                  <a:cubicBezTo>
                    <a:pt x="3462" y="23"/>
                    <a:pt x="3473" y="23"/>
                    <a:pt x="3484" y="23"/>
                  </a:cubicBezTo>
                  <a:cubicBezTo>
                    <a:pt x="3489" y="23"/>
                    <a:pt x="3494" y="24"/>
                    <a:pt x="3499" y="24"/>
                  </a:cubicBezTo>
                  <a:cubicBezTo>
                    <a:pt x="3503" y="24"/>
                    <a:pt x="3508" y="24"/>
                    <a:pt x="3512" y="25"/>
                  </a:cubicBezTo>
                  <a:cubicBezTo>
                    <a:pt x="3517" y="25"/>
                    <a:pt x="3521" y="26"/>
                    <a:pt x="3526" y="27"/>
                  </a:cubicBezTo>
                  <a:cubicBezTo>
                    <a:pt x="3530" y="27"/>
                    <a:pt x="3534" y="28"/>
                    <a:pt x="3538" y="29"/>
                  </a:cubicBezTo>
                  <a:cubicBezTo>
                    <a:pt x="3542" y="29"/>
                    <a:pt x="3547" y="30"/>
                    <a:pt x="3553" y="31"/>
                  </a:cubicBezTo>
                  <a:cubicBezTo>
                    <a:pt x="3558" y="33"/>
                    <a:pt x="3564" y="35"/>
                    <a:pt x="3569" y="36"/>
                  </a:cubicBezTo>
                  <a:cubicBezTo>
                    <a:pt x="3574" y="37"/>
                    <a:pt x="3579" y="39"/>
                    <a:pt x="3584" y="41"/>
                  </a:cubicBezTo>
                  <a:cubicBezTo>
                    <a:pt x="3590" y="43"/>
                    <a:pt x="3595" y="45"/>
                    <a:pt x="3601" y="47"/>
                  </a:cubicBezTo>
                  <a:cubicBezTo>
                    <a:pt x="3612" y="52"/>
                    <a:pt x="3624" y="56"/>
                    <a:pt x="3636" y="62"/>
                  </a:cubicBezTo>
                  <a:cubicBezTo>
                    <a:pt x="3649" y="68"/>
                    <a:pt x="3663" y="74"/>
                    <a:pt x="3677" y="80"/>
                  </a:cubicBezTo>
                  <a:cubicBezTo>
                    <a:pt x="3681" y="81"/>
                    <a:pt x="3684" y="83"/>
                    <a:pt x="3687" y="84"/>
                  </a:cubicBezTo>
                  <a:cubicBezTo>
                    <a:pt x="3690" y="86"/>
                    <a:pt x="3693" y="87"/>
                    <a:pt x="3697" y="89"/>
                  </a:cubicBezTo>
                  <a:cubicBezTo>
                    <a:pt x="3703" y="92"/>
                    <a:pt x="3709" y="96"/>
                    <a:pt x="3715" y="99"/>
                  </a:cubicBezTo>
                  <a:cubicBezTo>
                    <a:pt x="3715" y="99"/>
                    <a:pt x="3715" y="99"/>
                    <a:pt x="3715" y="99"/>
                  </a:cubicBezTo>
                  <a:cubicBezTo>
                    <a:pt x="3728" y="107"/>
                    <a:pt x="3741" y="116"/>
                    <a:pt x="3754" y="124"/>
                  </a:cubicBezTo>
                  <a:cubicBezTo>
                    <a:pt x="3795" y="154"/>
                    <a:pt x="3830" y="188"/>
                    <a:pt x="3853" y="213"/>
                  </a:cubicBezTo>
                  <a:cubicBezTo>
                    <a:pt x="3861" y="222"/>
                    <a:pt x="3867" y="229"/>
                    <a:pt x="3876" y="239"/>
                  </a:cubicBezTo>
                  <a:cubicBezTo>
                    <a:pt x="3905" y="270"/>
                    <a:pt x="3947" y="317"/>
                    <a:pt x="3987" y="362"/>
                  </a:cubicBezTo>
                  <a:cubicBezTo>
                    <a:pt x="3991" y="366"/>
                    <a:pt x="3991" y="366"/>
                    <a:pt x="3991" y="366"/>
                  </a:cubicBezTo>
                  <a:cubicBezTo>
                    <a:pt x="3992" y="367"/>
                    <a:pt x="3993" y="368"/>
                    <a:pt x="3993" y="369"/>
                  </a:cubicBezTo>
                  <a:cubicBezTo>
                    <a:pt x="4004" y="380"/>
                    <a:pt x="4014" y="392"/>
                    <a:pt x="4024" y="404"/>
                  </a:cubicBezTo>
                  <a:cubicBezTo>
                    <a:pt x="4043" y="424"/>
                    <a:pt x="4061" y="444"/>
                    <a:pt x="4077" y="462"/>
                  </a:cubicBezTo>
                  <a:cubicBezTo>
                    <a:pt x="4085" y="471"/>
                    <a:pt x="4093" y="479"/>
                    <a:pt x="4100" y="486"/>
                  </a:cubicBezTo>
                  <a:cubicBezTo>
                    <a:pt x="4108" y="494"/>
                    <a:pt x="4115" y="502"/>
                    <a:pt x="4121" y="508"/>
                  </a:cubicBezTo>
                  <a:cubicBezTo>
                    <a:pt x="4128" y="514"/>
                    <a:pt x="4138" y="524"/>
                    <a:pt x="4147" y="533"/>
                  </a:cubicBezTo>
                  <a:cubicBezTo>
                    <a:pt x="4161" y="548"/>
                    <a:pt x="4178" y="567"/>
                    <a:pt x="4195" y="587"/>
                  </a:cubicBezTo>
                  <a:cubicBezTo>
                    <a:pt x="4214" y="608"/>
                    <a:pt x="4233" y="632"/>
                    <a:pt x="4250" y="657"/>
                  </a:cubicBezTo>
                  <a:cubicBezTo>
                    <a:pt x="4250" y="657"/>
                    <a:pt x="4250" y="657"/>
                    <a:pt x="4250" y="657"/>
                  </a:cubicBezTo>
                  <a:cubicBezTo>
                    <a:pt x="4259" y="670"/>
                    <a:pt x="4268" y="683"/>
                    <a:pt x="4276" y="696"/>
                  </a:cubicBezTo>
                  <a:cubicBezTo>
                    <a:pt x="4290" y="718"/>
                    <a:pt x="4302" y="740"/>
                    <a:pt x="4311" y="760"/>
                  </a:cubicBezTo>
                  <a:cubicBezTo>
                    <a:pt x="4321" y="780"/>
                    <a:pt x="4328" y="799"/>
                    <a:pt x="4334" y="815"/>
                  </a:cubicBezTo>
                  <a:cubicBezTo>
                    <a:pt x="4336" y="820"/>
                    <a:pt x="4337" y="825"/>
                    <a:pt x="4339" y="831"/>
                  </a:cubicBezTo>
                  <a:cubicBezTo>
                    <a:pt x="4340" y="836"/>
                    <a:pt x="4342" y="841"/>
                    <a:pt x="4343" y="847"/>
                  </a:cubicBezTo>
                  <a:cubicBezTo>
                    <a:pt x="4349" y="867"/>
                    <a:pt x="4356" y="891"/>
                    <a:pt x="4362" y="918"/>
                  </a:cubicBezTo>
                  <a:cubicBezTo>
                    <a:pt x="4367" y="944"/>
                    <a:pt x="4371" y="972"/>
                    <a:pt x="4372" y="998"/>
                  </a:cubicBezTo>
                  <a:cubicBezTo>
                    <a:pt x="4372" y="1000"/>
                    <a:pt x="4372" y="1002"/>
                    <a:pt x="4372" y="1004"/>
                  </a:cubicBezTo>
                  <a:cubicBezTo>
                    <a:pt x="4372" y="1005"/>
                    <a:pt x="4372" y="1006"/>
                    <a:pt x="4372" y="1007"/>
                  </a:cubicBezTo>
                  <a:cubicBezTo>
                    <a:pt x="4372" y="1012"/>
                    <a:pt x="4372" y="1012"/>
                    <a:pt x="4372" y="1012"/>
                  </a:cubicBezTo>
                  <a:cubicBezTo>
                    <a:pt x="4372" y="1017"/>
                    <a:pt x="4372" y="1017"/>
                    <a:pt x="4372" y="1017"/>
                  </a:cubicBezTo>
                  <a:cubicBezTo>
                    <a:pt x="4372" y="1027"/>
                    <a:pt x="4372" y="1027"/>
                    <a:pt x="4372" y="1027"/>
                  </a:cubicBezTo>
                  <a:cubicBezTo>
                    <a:pt x="4371" y="1031"/>
                    <a:pt x="4371" y="1034"/>
                    <a:pt x="4371" y="1038"/>
                  </a:cubicBezTo>
                  <a:cubicBezTo>
                    <a:pt x="4371" y="1041"/>
                    <a:pt x="4370" y="1044"/>
                    <a:pt x="4370" y="1048"/>
                  </a:cubicBezTo>
                  <a:cubicBezTo>
                    <a:pt x="4367" y="1071"/>
                    <a:pt x="4361" y="1094"/>
                    <a:pt x="4354" y="1115"/>
                  </a:cubicBezTo>
                  <a:cubicBezTo>
                    <a:pt x="4351" y="1125"/>
                    <a:pt x="4347" y="1134"/>
                    <a:pt x="4344" y="1143"/>
                  </a:cubicBezTo>
                  <a:cubicBezTo>
                    <a:pt x="4340" y="1151"/>
                    <a:pt x="4336" y="1161"/>
                    <a:pt x="4332" y="1167"/>
                  </a:cubicBezTo>
                  <a:cubicBezTo>
                    <a:pt x="4329" y="1176"/>
                    <a:pt x="4323" y="1186"/>
                    <a:pt x="4317" y="1197"/>
                  </a:cubicBezTo>
                  <a:cubicBezTo>
                    <a:pt x="4307" y="1214"/>
                    <a:pt x="4292" y="1234"/>
                    <a:pt x="4276" y="1254"/>
                  </a:cubicBezTo>
                  <a:cubicBezTo>
                    <a:pt x="4259" y="1276"/>
                    <a:pt x="4238" y="1298"/>
                    <a:pt x="4217" y="1319"/>
                  </a:cubicBezTo>
                  <a:cubicBezTo>
                    <a:pt x="4217" y="1319"/>
                    <a:pt x="4217" y="1319"/>
                    <a:pt x="4217" y="1319"/>
                  </a:cubicBezTo>
                  <a:cubicBezTo>
                    <a:pt x="4211" y="1325"/>
                    <a:pt x="4206" y="1330"/>
                    <a:pt x="4200" y="1336"/>
                  </a:cubicBezTo>
                  <a:cubicBezTo>
                    <a:pt x="4194" y="1341"/>
                    <a:pt x="4188" y="1347"/>
                    <a:pt x="4183" y="1352"/>
                  </a:cubicBezTo>
                  <a:cubicBezTo>
                    <a:pt x="4144" y="1387"/>
                    <a:pt x="4105" y="1417"/>
                    <a:pt x="4076" y="1436"/>
                  </a:cubicBezTo>
                  <a:cubicBezTo>
                    <a:pt x="4066" y="1443"/>
                    <a:pt x="4058" y="1448"/>
                    <a:pt x="4047" y="1455"/>
                  </a:cubicBezTo>
                  <a:cubicBezTo>
                    <a:pt x="4012" y="1479"/>
                    <a:pt x="3960" y="1514"/>
                    <a:pt x="3910" y="1546"/>
                  </a:cubicBezTo>
                  <a:cubicBezTo>
                    <a:pt x="3909" y="1547"/>
                    <a:pt x="3907" y="1548"/>
                    <a:pt x="3905" y="1549"/>
                  </a:cubicBezTo>
                  <a:cubicBezTo>
                    <a:pt x="3904" y="1550"/>
                    <a:pt x="3903" y="1550"/>
                    <a:pt x="3902" y="1551"/>
                  </a:cubicBezTo>
                  <a:cubicBezTo>
                    <a:pt x="3889" y="1559"/>
                    <a:pt x="3876" y="1567"/>
                    <a:pt x="3863" y="1575"/>
                  </a:cubicBezTo>
                  <a:cubicBezTo>
                    <a:pt x="3840" y="1589"/>
                    <a:pt x="3818" y="1603"/>
                    <a:pt x="3797" y="1614"/>
                  </a:cubicBezTo>
                  <a:cubicBezTo>
                    <a:pt x="3792" y="1617"/>
                    <a:pt x="3787" y="1620"/>
                    <a:pt x="3783" y="1622"/>
                  </a:cubicBezTo>
                  <a:cubicBezTo>
                    <a:pt x="3778" y="1625"/>
                    <a:pt x="3773" y="1627"/>
                    <a:pt x="3769" y="1630"/>
                  </a:cubicBezTo>
                  <a:cubicBezTo>
                    <a:pt x="3765" y="1632"/>
                    <a:pt x="3760" y="1635"/>
                    <a:pt x="3756" y="1637"/>
                  </a:cubicBezTo>
                  <a:cubicBezTo>
                    <a:pt x="3752" y="1639"/>
                    <a:pt x="3747" y="1642"/>
                    <a:pt x="3744" y="1643"/>
                  </a:cubicBezTo>
                  <a:cubicBezTo>
                    <a:pt x="3740" y="1646"/>
                    <a:pt x="3735" y="1648"/>
                    <a:pt x="3730" y="1651"/>
                  </a:cubicBezTo>
                  <a:cubicBezTo>
                    <a:pt x="3725" y="1654"/>
                    <a:pt x="3719" y="1656"/>
                    <a:pt x="3714" y="1659"/>
                  </a:cubicBezTo>
                  <a:cubicBezTo>
                    <a:pt x="3705" y="1663"/>
                    <a:pt x="3694" y="1667"/>
                    <a:pt x="3683" y="1672"/>
                  </a:cubicBezTo>
                  <a:cubicBezTo>
                    <a:pt x="3671" y="1676"/>
                    <a:pt x="3659" y="1681"/>
                    <a:pt x="3647" y="1685"/>
                  </a:cubicBezTo>
                  <a:cubicBezTo>
                    <a:pt x="3620" y="1694"/>
                    <a:pt x="3592" y="1702"/>
                    <a:pt x="3563" y="1708"/>
                  </a:cubicBezTo>
                  <a:cubicBezTo>
                    <a:pt x="3563" y="1708"/>
                    <a:pt x="3563" y="1708"/>
                    <a:pt x="3563" y="1708"/>
                  </a:cubicBezTo>
                  <a:cubicBezTo>
                    <a:pt x="3548" y="1711"/>
                    <a:pt x="3532" y="1713"/>
                    <a:pt x="3517" y="1715"/>
                  </a:cubicBezTo>
                  <a:cubicBezTo>
                    <a:pt x="3466" y="1721"/>
                    <a:pt x="3418" y="1720"/>
                    <a:pt x="3384" y="1716"/>
                  </a:cubicBezTo>
                  <a:cubicBezTo>
                    <a:pt x="3378" y="1716"/>
                    <a:pt x="3373" y="1715"/>
                    <a:pt x="3368" y="1714"/>
                  </a:cubicBezTo>
                  <a:cubicBezTo>
                    <a:pt x="3362" y="1714"/>
                    <a:pt x="3357" y="1713"/>
                    <a:pt x="3350" y="1712"/>
                  </a:cubicBezTo>
                  <a:cubicBezTo>
                    <a:pt x="3339" y="1711"/>
                    <a:pt x="3328" y="1709"/>
                    <a:pt x="3315" y="1708"/>
                  </a:cubicBezTo>
                  <a:cubicBezTo>
                    <a:pt x="3309" y="1707"/>
                    <a:pt x="3303" y="1706"/>
                    <a:pt x="3296" y="1705"/>
                  </a:cubicBezTo>
                  <a:cubicBezTo>
                    <a:pt x="3290" y="1705"/>
                    <a:pt x="3283" y="1704"/>
                    <a:pt x="3276" y="1703"/>
                  </a:cubicBezTo>
                  <a:cubicBezTo>
                    <a:pt x="3270" y="1701"/>
                    <a:pt x="3263" y="1700"/>
                    <a:pt x="3256" y="1699"/>
                  </a:cubicBezTo>
                  <a:cubicBezTo>
                    <a:pt x="3249" y="1698"/>
                    <a:pt x="3241" y="1697"/>
                    <a:pt x="3234" y="1695"/>
                  </a:cubicBezTo>
                  <a:cubicBezTo>
                    <a:pt x="3220" y="1692"/>
                    <a:pt x="3205" y="1689"/>
                    <a:pt x="3191" y="1686"/>
                  </a:cubicBezTo>
                  <a:cubicBezTo>
                    <a:pt x="3189" y="1686"/>
                    <a:pt x="3187" y="1685"/>
                    <a:pt x="3185" y="1685"/>
                  </a:cubicBezTo>
                  <a:cubicBezTo>
                    <a:pt x="3184" y="1685"/>
                    <a:pt x="3183" y="1684"/>
                    <a:pt x="3181" y="1684"/>
                  </a:cubicBezTo>
                  <a:cubicBezTo>
                    <a:pt x="3166" y="1681"/>
                    <a:pt x="3151" y="1677"/>
                    <a:pt x="3136" y="1674"/>
                  </a:cubicBezTo>
                  <a:cubicBezTo>
                    <a:pt x="3110" y="1668"/>
                    <a:pt x="3084" y="1662"/>
                    <a:pt x="3060" y="1657"/>
                  </a:cubicBezTo>
                  <a:cubicBezTo>
                    <a:pt x="3048" y="1655"/>
                    <a:pt x="3037" y="1652"/>
                    <a:pt x="3027" y="1650"/>
                  </a:cubicBezTo>
                  <a:cubicBezTo>
                    <a:pt x="3017" y="1648"/>
                    <a:pt x="3006" y="1646"/>
                    <a:pt x="2998" y="1645"/>
                  </a:cubicBezTo>
                  <a:cubicBezTo>
                    <a:pt x="2989" y="1643"/>
                    <a:pt x="2976" y="1640"/>
                    <a:pt x="2963" y="1638"/>
                  </a:cubicBezTo>
                  <a:cubicBezTo>
                    <a:pt x="2943" y="1634"/>
                    <a:pt x="2917" y="1628"/>
                    <a:pt x="2891" y="1621"/>
                  </a:cubicBezTo>
                  <a:cubicBezTo>
                    <a:pt x="2863" y="1614"/>
                    <a:pt x="2833" y="1607"/>
                    <a:pt x="2802" y="1599"/>
                  </a:cubicBezTo>
                  <a:cubicBezTo>
                    <a:pt x="2802" y="1599"/>
                    <a:pt x="2802" y="1599"/>
                    <a:pt x="2802" y="1599"/>
                  </a:cubicBezTo>
                  <a:cubicBezTo>
                    <a:pt x="2787" y="1595"/>
                    <a:pt x="2770" y="1592"/>
                    <a:pt x="2755" y="1588"/>
                  </a:cubicBezTo>
                  <a:cubicBezTo>
                    <a:pt x="2741" y="1585"/>
                    <a:pt x="2728" y="1582"/>
                    <a:pt x="2715" y="1579"/>
                  </a:cubicBezTo>
                  <a:cubicBezTo>
                    <a:pt x="2702" y="1577"/>
                    <a:pt x="2689" y="1574"/>
                    <a:pt x="2678" y="1572"/>
                  </a:cubicBezTo>
                  <a:cubicBezTo>
                    <a:pt x="2655" y="1568"/>
                    <a:pt x="2633" y="1565"/>
                    <a:pt x="2615" y="1561"/>
                  </a:cubicBezTo>
                  <a:cubicBezTo>
                    <a:pt x="2602" y="1559"/>
                    <a:pt x="2593" y="1557"/>
                    <a:pt x="2579" y="1556"/>
                  </a:cubicBezTo>
                  <a:cubicBezTo>
                    <a:pt x="2556" y="1553"/>
                    <a:pt x="2527" y="1551"/>
                    <a:pt x="2495" y="1553"/>
                  </a:cubicBezTo>
                  <a:cubicBezTo>
                    <a:pt x="2479" y="1554"/>
                    <a:pt x="2463" y="1556"/>
                    <a:pt x="2446" y="1559"/>
                  </a:cubicBezTo>
                  <a:cubicBezTo>
                    <a:pt x="2430" y="1562"/>
                    <a:pt x="2415" y="1565"/>
                    <a:pt x="2399" y="1569"/>
                  </a:cubicBezTo>
                  <a:cubicBezTo>
                    <a:pt x="2397" y="1569"/>
                    <a:pt x="2395" y="1570"/>
                    <a:pt x="2393" y="1570"/>
                  </a:cubicBezTo>
                  <a:cubicBezTo>
                    <a:pt x="2392" y="1571"/>
                    <a:pt x="2391" y="1571"/>
                    <a:pt x="2390" y="1571"/>
                  </a:cubicBezTo>
                  <a:cubicBezTo>
                    <a:pt x="2382" y="1573"/>
                    <a:pt x="2375" y="1575"/>
                    <a:pt x="2367" y="1577"/>
                  </a:cubicBezTo>
                  <a:cubicBezTo>
                    <a:pt x="2359" y="1579"/>
                    <a:pt x="2351" y="1581"/>
                    <a:pt x="2344" y="1583"/>
                  </a:cubicBezTo>
                  <a:cubicBezTo>
                    <a:pt x="2317" y="1591"/>
                    <a:pt x="2289" y="1599"/>
                    <a:pt x="2264" y="1610"/>
                  </a:cubicBezTo>
                  <a:cubicBezTo>
                    <a:pt x="2258" y="1612"/>
                    <a:pt x="2252" y="1615"/>
                    <a:pt x="2247" y="1618"/>
                  </a:cubicBezTo>
                  <a:cubicBezTo>
                    <a:pt x="2241" y="1620"/>
                    <a:pt x="2236" y="1623"/>
                    <a:pt x="2231" y="1625"/>
                  </a:cubicBezTo>
                  <a:cubicBezTo>
                    <a:pt x="2226" y="1628"/>
                    <a:pt x="2221" y="1631"/>
                    <a:pt x="2217" y="1634"/>
                  </a:cubicBezTo>
                  <a:cubicBezTo>
                    <a:pt x="2212" y="1636"/>
                    <a:pt x="2208" y="1639"/>
                    <a:pt x="2204" y="1642"/>
                  </a:cubicBezTo>
                  <a:cubicBezTo>
                    <a:pt x="2195" y="1647"/>
                    <a:pt x="2184" y="1655"/>
                    <a:pt x="2173" y="1663"/>
                  </a:cubicBezTo>
                  <a:cubicBezTo>
                    <a:pt x="2155" y="1675"/>
                    <a:pt x="2133" y="1691"/>
                    <a:pt x="2111" y="1707"/>
                  </a:cubicBezTo>
                  <a:cubicBezTo>
                    <a:pt x="2105" y="1712"/>
                    <a:pt x="2099" y="1716"/>
                    <a:pt x="2093" y="1721"/>
                  </a:cubicBezTo>
                  <a:cubicBezTo>
                    <a:pt x="2090" y="1723"/>
                    <a:pt x="2087" y="1726"/>
                    <a:pt x="2084" y="1728"/>
                  </a:cubicBezTo>
                  <a:cubicBezTo>
                    <a:pt x="2081" y="1730"/>
                    <a:pt x="2078" y="1733"/>
                    <a:pt x="2075" y="1735"/>
                  </a:cubicBezTo>
                  <a:cubicBezTo>
                    <a:pt x="2068" y="1740"/>
                    <a:pt x="2062" y="1745"/>
                    <a:pt x="2056" y="1750"/>
                  </a:cubicBezTo>
                  <a:cubicBezTo>
                    <a:pt x="2050" y="1755"/>
                    <a:pt x="2044" y="1760"/>
                    <a:pt x="2038" y="1765"/>
                  </a:cubicBezTo>
                  <a:cubicBezTo>
                    <a:pt x="2038" y="1765"/>
                    <a:pt x="2038" y="1765"/>
                    <a:pt x="2038" y="1765"/>
                  </a:cubicBezTo>
                  <a:cubicBezTo>
                    <a:pt x="2025" y="1775"/>
                    <a:pt x="2012" y="1786"/>
                    <a:pt x="2000" y="1796"/>
                  </a:cubicBezTo>
                  <a:cubicBezTo>
                    <a:pt x="1959" y="1831"/>
                    <a:pt x="1921" y="1863"/>
                    <a:pt x="1893" y="1885"/>
                  </a:cubicBezTo>
                  <a:cubicBezTo>
                    <a:pt x="1883" y="1893"/>
                    <a:pt x="1875" y="1899"/>
                    <a:pt x="1865" y="1907"/>
                  </a:cubicBezTo>
                  <a:cubicBezTo>
                    <a:pt x="1831" y="1934"/>
                    <a:pt x="1783" y="1977"/>
                    <a:pt x="1739" y="2019"/>
                  </a:cubicBezTo>
                  <a:cubicBezTo>
                    <a:pt x="1737" y="2020"/>
                    <a:pt x="1736" y="2021"/>
                    <a:pt x="1734" y="2023"/>
                  </a:cubicBezTo>
                  <a:cubicBezTo>
                    <a:pt x="1733" y="2024"/>
                    <a:pt x="1733" y="2024"/>
                    <a:pt x="1732" y="2025"/>
                  </a:cubicBezTo>
                  <a:cubicBezTo>
                    <a:pt x="1720" y="2036"/>
                    <a:pt x="1709" y="2047"/>
                    <a:pt x="1698" y="2057"/>
                  </a:cubicBezTo>
                  <a:cubicBezTo>
                    <a:pt x="1678" y="2076"/>
                    <a:pt x="1658" y="2095"/>
                    <a:pt x="1641" y="2112"/>
                  </a:cubicBezTo>
                  <a:cubicBezTo>
                    <a:pt x="1632" y="2121"/>
                    <a:pt x="1624" y="2129"/>
                    <a:pt x="1617" y="2136"/>
                  </a:cubicBezTo>
                  <a:cubicBezTo>
                    <a:pt x="1610" y="2143"/>
                    <a:pt x="1602" y="2151"/>
                    <a:pt x="1597" y="2157"/>
                  </a:cubicBezTo>
                  <a:cubicBezTo>
                    <a:pt x="1590" y="2164"/>
                    <a:pt x="1581" y="2173"/>
                    <a:pt x="1572" y="2182"/>
                  </a:cubicBezTo>
                  <a:cubicBezTo>
                    <a:pt x="1565" y="2190"/>
                    <a:pt x="1557" y="2197"/>
                    <a:pt x="1548" y="2206"/>
                  </a:cubicBezTo>
                  <a:cubicBezTo>
                    <a:pt x="1538" y="2214"/>
                    <a:pt x="1528" y="2223"/>
                    <a:pt x="1518" y="2232"/>
                  </a:cubicBezTo>
                  <a:cubicBezTo>
                    <a:pt x="1497" y="2251"/>
                    <a:pt x="1473" y="2271"/>
                    <a:pt x="1450" y="2291"/>
                  </a:cubicBezTo>
                  <a:cubicBezTo>
                    <a:pt x="1450" y="2291"/>
                    <a:pt x="1450" y="2291"/>
                    <a:pt x="1450" y="2291"/>
                  </a:cubicBezTo>
                  <a:cubicBezTo>
                    <a:pt x="1437" y="2301"/>
                    <a:pt x="1425" y="2311"/>
                    <a:pt x="1412" y="2320"/>
                  </a:cubicBezTo>
                  <a:cubicBezTo>
                    <a:pt x="1392" y="2336"/>
                    <a:pt x="1371" y="2350"/>
                    <a:pt x="1352" y="2361"/>
                  </a:cubicBezTo>
                  <a:cubicBezTo>
                    <a:pt x="1333" y="2373"/>
                    <a:pt x="1315" y="2381"/>
                    <a:pt x="1299" y="2388"/>
                  </a:cubicBezTo>
                  <a:cubicBezTo>
                    <a:pt x="1289" y="2393"/>
                    <a:pt x="1279" y="2396"/>
                    <a:pt x="1267" y="2402"/>
                  </a:cubicBezTo>
                  <a:cubicBezTo>
                    <a:pt x="1247" y="2410"/>
                    <a:pt x="1224" y="2421"/>
                    <a:pt x="1199" y="2430"/>
                  </a:cubicBezTo>
                  <a:cubicBezTo>
                    <a:pt x="1187" y="2434"/>
                    <a:pt x="1174" y="2438"/>
                    <a:pt x="1161" y="2442"/>
                  </a:cubicBezTo>
                  <a:cubicBezTo>
                    <a:pt x="1148" y="2445"/>
                    <a:pt x="1135" y="2447"/>
                    <a:pt x="1122" y="2449"/>
                  </a:cubicBezTo>
                  <a:cubicBezTo>
                    <a:pt x="1120" y="2449"/>
                    <a:pt x="1119" y="2449"/>
                    <a:pt x="1117" y="2450"/>
                  </a:cubicBezTo>
                  <a:cubicBezTo>
                    <a:pt x="1116" y="2450"/>
                    <a:pt x="1115" y="2450"/>
                    <a:pt x="1114" y="2450"/>
                  </a:cubicBezTo>
                  <a:cubicBezTo>
                    <a:pt x="1107" y="2451"/>
                    <a:pt x="1100" y="2451"/>
                    <a:pt x="1093" y="2451"/>
                  </a:cubicBezTo>
                  <a:cubicBezTo>
                    <a:pt x="1090" y="2451"/>
                    <a:pt x="1086" y="2451"/>
                    <a:pt x="1083" y="2451"/>
                  </a:cubicBezTo>
                  <a:cubicBezTo>
                    <a:pt x="1079" y="2451"/>
                    <a:pt x="1076" y="2451"/>
                    <a:pt x="1072" y="2451"/>
                  </a:cubicBezTo>
                  <a:cubicBezTo>
                    <a:pt x="1060" y="2451"/>
                    <a:pt x="1047" y="2450"/>
                    <a:pt x="1035" y="2449"/>
                  </a:cubicBezTo>
                  <a:cubicBezTo>
                    <a:pt x="1023" y="2448"/>
                    <a:pt x="1011" y="2446"/>
                    <a:pt x="999" y="2445"/>
                  </a:cubicBezTo>
                  <a:cubicBezTo>
                    <a:pt x="994" y="2444"/>
                    <a:pt x="988" y="2443"/>
                    <a:pt x="983" y="2442"/>
                  </a:cubicBezTo>
                  <a:cubicBezTo>
                    <a:pt x="978" y="2442"/>
                    <a:pt x="973" y="2441"/>
                    <a:pt x="968" y="2440"/>
                  </a:cubicBezTo>
                  <a:cubicBezTo>
                    <a:pt x="958" y="2439"/>
                    <a:pt x="948" y="2437"/>
                    <a:pt x="940" y="2436"/>
                  </a:cubicBezTo>
                  <a:cubicBezTo>
                    <a:pt x="931" y="2434"/>
                    <a:pt x="919" y="2432"/>
                    <a:pt x="906" y="2429"/>
                  </a:cubicBezTo>
                  <a:cubicBezTo>
                    <a:pt x="887" y="2424"/>
                    <a:pt x="862" y="2417"/>
                    <a:pt x="838" y="2409"/>
                  </a:cubicBezTo>
                  <a:cubicBezTo>
                    <a:pt x="811" y="2399"/>
                    <a:pt x="783" y="2388"/>
                    <a:pt x="755" y="2376"/>
                  </a:cubicBezTo>
                  <a:cubicBezTo>
                    <a:pt x="755" y="2376"/>
                    <a:pt x="755" y="2376"/>
                    <a:pt x="755" y="2376"/>
                  </a:cubicBezTo>
                  <a:cubicBezTo>
                    <a:pt x="740" y="2370"/>
                    <a:pt x="725" y="2363"/>
                    <a:pt x="711" y="2356"/>
                  </a:cubicBezTo>
                  <a:cubicBezTo>
                    <a:pt x="664" y="2334"/>
                    <a:pt x="620" y="2310"/>
                    <a:pt x="590" y="2293"/>
                  </a:cubicBezTo>
                  <a:cubicBezTo>
                    <a:pt x="579" y="2286"/>
                    <a:pt x="570" y="2281"/>
                    <a:pt x="559" y="2274"/>
                  </a:cubicBezTo>
                  <a:cubicBezTo>
                    <a:pt x="522" y="2253"/>
                    <a:pt x="467" y="2222"/>
                    <a:pt x="414" y="2193"/>
                  </a:cubicBezTo>
                  <a:cubicBezTo>
                    <a:pt x="413" y="2192"/>
                    <a:pt x="411" y="2191"/>
                    <a:pt x="409" y="2190"/>
                  </a:cubicBezTo>
                  <a:cubicBezTo>
                    <a:pt x="408" y="2190"/>
                    <a:pt x="407" y="2189"/>
                    <a:pt x="406" y="2188"/>
                  </a:cubicBezTo>
                  <a:cubicBezTo>
                    <a:pt x="393" y="2181"/>
                    <a:pt x="379" y="2173"/>
                    <a:pt x="366" y="2166"/>
                  </a:cubicBezTo>
                  <a:cubicBezTo>
                    <a:pt x="354" y="2159"/>
                    <a:pt x="343" y="2152"/>
                    <a:pt x="332" y="2146"/>
                  </a:cubicBezTo>
                  <a:cubicBezTo>
                    <a:pt x="320" y="2139"/>
                    <a:pt x="310" y="2133"/>
                    <a:pt x="299" y="2127"/>
                  </a:cubicBezTo>
                  <a:cubicBezTo>
                    <a:pt x="289" y="2121"/>
                    <a:pt x="280" y="2115"/>
                    <a:pt x="272" y="2110"/>
                  </a:cubicBezTo>
                  <a:cubicBezTo>
                    <a:pt x="263" y="2105"/>
                    <a:pt x="254" y="2099"/>
                    <a:pt x="247" y="2095"/>
                  </a:cubicBezTo>
                  <a:cubicBezTo>
                    <a:pt x="243" y="2093"/>
                    <a:pt x="238" y="2090"/>
                    <a:pt x="233" y="2087"/>
                  </a:cubicBezTo>
                  <a:cubicBezTo>
                    <a:pt x="228" y="2083"/>
                    <a:pt x="223" y="2080"/>
                    <a:pt x="218" y="2076"/>
                  </a:cubicBezTo>
                  <a:cubicBezTo>
                    <a:pt x="214" y="2074"/>
                    <a:pt x="210" y="2071"/>
                    <a:pt x="205" y="2067"/>
                  </a:cubicBezTo>
                  <a:cubicBezTo>
                    <a:pt x="201" y="2064"/>
                    <a:pt x="197" y="2060"/>
                    <a:pt x="192" y="2057"/>
                  </a:cubicBezTo>
                  <a:cubicBezTo>
                    <a:pt x="183" y="2050"/>
                    <a:pt x="174" y="2041"/>
                    <a:pt x="164" y="2032"/>
                  </a:cubicBezTo>
                  <a:cubicBezTo>
                    <a:pt x="144" y="2013"/>
                    <a:pt x="123" y="1991"/>
                    <a:pt x="104" y="1968"/>
                  </a:cubicBezTo>
                  <a:cubicBezTo>
                    <a:pt x="104" y="1968"/>
                    <a:pt x="104" y="1968"/>
                    <a:pt x="104" y="1968"/>
                  </a:cubicBezTo>
                  <a:cubicBezTo>
                    <a:pt x="100" y="1962"/>
                    <a:pt x="95" y="1956"/>
                    <a:pt x="90" y="1950"/>
                  </a:cubicBezTo>
                  <a:cubicBezTo>
                    <a:pt x="86" y="1944"/>
                    <a:pt x="82" y="1938"/>
                    <a:pt x="77" y="1931"/>
                  </a:cubicBezTo>
                  <a:cubicBezTo>
                    <a:pt x="64" y="1910"/>
                    <a:pt x="53" y="1889"/>
                    <a:pt x="45" y="1869"/>
                  </a:cubicBezTo>
                  <a:cubicBezTo>
                    <a:pt x="41" y="1859"/>
                    <a:pt x="37" y="1850"/>
                    <a:pt x="35" y="1841"/>
                  </a:cubicBezTo>
                  <a:cubicBezTo>
                    <a:pt x="34" y="1836"/>
                    <a:pt x="32" y="1832"/>
                    <a:pt x="31" y="1827"/>
                  </a:cubicBezTo>
                  <a:cubicBezTo>
                    <a:pt x="30" y="1823"/>
                    <a:pt x="30" y="1819"/>
                    <a:pt x="29" y="1815"/>
                  </a:cubicBezTo>
                  <a:cubicBezTo>
                    <a:pt x="28" y="1810"/>
                    <a:pt x="27" y="1805"/>
                    <a:pt x="27" y="1800"/>
                  </a:cubicBezTo>
                  <a:cubicBezTo>
                    <a:pt x="27" y="1797"/>
                    <a:pt x="26" y="1795"/>
                    <a:pt x="26" y="1792"/>
                  </a:cubicBezTo>
                  <a:cubicBezTo>
                    <a:pt x="26" y="1791"/>
                    <a:pt x="26" y="1789"/>
                    <a:pt x="25" y="1788"/>
                  </a:cubicBezTo>
                  <a:cubicBezTo>
                    <a:pt x="25" y="1787"/>
                    <a:pt x="25" y="1785"/>
                    <a:pt x="25" y="1784"/>
                  </a:cubicBezTo>
                  <a:cubicBezTo>
                    <a:pt x="25" y="1779"/>
                    <a:pt x="25" y="1774"/>
                    <a:pt x="24" y="1769"/>
                  </a:cubicBezTo>
                  <a:cubicBezTo>
                    <a:pt x="24" y="1763"/>
                    <a:pt x="24" y="1758"/>
                    <a:pt x="24" y="1752"/>
                  </a:cubicBezTo>
                  <a:cubicBezTo>
                    <a:pt x="24" y="1749"/>
                    <a:pt x="23" y="1746"/>
                    <a:pt x="24" y="1743"/>
                  </a:cubicBezTo>
                  <a:cubicBezTo>
                    <a:pt x="24" y="1740"/>
                    <a:pt x="24" y="1737"/>
                    <a:pt x="24" y="1734"/>
                  </a:cubicBezTo>
                  <a:cubicBezTo>
                    <a:pt x="24" y="1731"/>
                    <a:pt x="24" y="1728"/>
                    <a:pt x="24" y="1724"/>
                  </a:cubicBezTo>
                  <a:cubicBezTo>
                    <a:pt x="24" y="1721"/>
                    <a:pt x="25" y="1718"/>
                    <a:pt x="25" y="1715"/>
                  </a:cubicBezTo>
                  <a:cubicBezTo>
                    <a:pt x="25" y="1712"/>
                    <a:pt x="26" y="1709"/>
                    <a:pt x="26" y="1706"/>
                  </a:cubicBezTo>
                  <a:cubicBezTo>
                    <a:pt x="26" y="1701"/>
                    <a:pt x="26" y="1701"/>
                    <a:pt x="26" y="1701"/>
                  </a:cubicBezTo>
                  <a:cubicBezTo>
                    <a:pt x="27" y="1699"/>
                    <a:pt x="27" y="1698"/>
                    <a:pt x="27" y="1696"/>
                  </a:cubicBezTo>
                  <a:cubicBezTo>
                    <a:pt x="28" y="1690"/>
                    <a:pt x="29" y="1683"/>
                    <a:pt x="31" y="1676"/>
                  </a:cubicBezTo>
                  <a:cubicBezTo>
                    <a:pt x="32" y="1670"/>
                    <a:pt x="34" y="1663"/>
                    <a:pt x="35" y="1656"/>
                  </a:cubicBezTo>
                  <a:cubicBezTo>
                    <a:pt x="37" y="1651"/>
                    <a:pt x="37" y="1651"/>
                    <a:pt x="37" y="1651"/>
                  </a:cubicBezTo>
                  <a:cubicBezTo>
                    <a:pt x="38" y="1646"/>
                    <a:pt x="38" y="1646"/>
                    <a:pt x="38" y="1646"/>
                  </a:cubicBezTo>
                  <a:cubicBezTo>
                    <a:pt x="39" y="1642"/>
                    <a:pt x="40" y="1639"/>
                    <a:pt x="41" y="1636"/>
                  </a:cubicBezTo>
                  <a:cubicBezTo>
                    <a:pt x="41" y="1634"/>
                    <a:pt x="42" y="1632"/>
                    <a:pt x="42" y="1630"/>
                  </a:cubicBezTo>
                  <a:cubicBezTo>
                    <a:pt x="43" y="1629"/>
                    <a:pt x="43" y="1628"/>
                    <a:pt x="43" y="1627"/>
                  </a:cubicBezTo>
                  <a:cubicBezTo>
                    <a:pt x="45" y="1620"/>
                    <a:pt x="48" y="1613"/>
                    <a:pt x="50" y="1606"/>
                  </a:cubicBezTo>
                  <a:cubicBezTo>
                    <a:pt x="51" y="1603"/>
                    <a:pt x="52" y="1599"/>
                    <a:pt x="54" y="1596"/>
                  </a:cubicBezTo>
                  <a:cubicBezTo>
                    <a:pt x="55" y="1592"/>
                    <a:pt x="56" y="1589"/>
                    <a:pt x="57" y="1585"/>
                  </a:cubicBezTo>
                  <a:cubicBezTo>
                    <a:pt x="60" y="1579"/>
                    <a:pt x="62" y="1573"/>
                    <a:pt x="64" y="1567"/>
                  </a:cubicBezTo>
                  <a:cubicBezTo>
                    <a:pt x="67" y="1561"/>
                    <a:pt x="69" y="1555"/>
                    <a:pt x="71" y="1549"/>
                  </a:cubicBezTo>
                  <a:cubicBezTo>
                    <a:pt x="72" y="1546"/>
                    <a:pt x="74" y="1543"/>
                    <a:pt x="75" y="1540"/>
                  </a:cubicBezTo>
                  <a:cubicBezTo>
                    <a:pt x="76" y="1537"/>
                    <a:pt x="77" y="1534"/>
                    <a:pt x="78" y="1532"/>
                  </a:cubicBezTo>
                  <a:cubicBezTo>
                    <a:pt x="81" y="1526"/>
                    <a:pt x="83" y="1520"/>
                    <a:pt x="85" y="1515"/>
                  </a:cubicBezTo>
                  <a:cubicBezTo>
                    <a:pt x="90" y="1504"/>
                    <a:pt x="94" y="1494"/>
                    <a:pt x="98" y="1485"/>
                  </a:cubicBezTo>
                  <a:cubicBezTo>
                    <a:pt x="102" y="1476"/>
                    <a:pt x="107" y="1466"/>
                    <a:pt x="109" y="1458"/>
                  </a:cubicBezTo>
                  <a:cubicBezTo>
                    <a:pt x="113" y="1449"/>
                    <a:pt x="118" y="1438"/>
                    <a:pt x="124" y="1427"/>
                  </a:cubicBezTo>
                  <a:cubicBezTo>
                    <a:pt x="133" y="1408"/>
                    <a:pt x="145" y="1385"/>
                    <a:pt x="158" y="1362"/>
                  </a:cubicBezTo>
                  <a:cubicBezTo>
                    <a:pt x="172" y="1338"/>
                    <a:pt x="188" y="1312"/>
                    <a:pt x="205" y="1286"/>
                  </a:cubicBezTo>
                  <a:cubicBezTo>
                    <a:pt x="203" y="1285"/>
                    <a:pt x="203" y="1285"/>
                    <a:pt x="203" y="1285"/>
                  </a:cubicBezTo>
                  <a:cubicBezTo>
                    <a:pt x="195" y="1298"/>
                    <a:pt x="186" y="1312"/>
                    <a:pt x="177" y="132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3" name="Freeform 30"/>
            <p:cNvSpPr>
              <a:spLocks/>
            </p:cNvSpPr>
            <p:nvPr/>
          </p:nvSpPr>
          <p:spPr bwMode="gray">
            <a:xfrm>
              <a:off x="-995362" y="-1604962"/>
              <a:ext cx="13955713" cy="7948613"/>
            </a:xfrm>
            <a:custGeom>
              <a:avLst/>
              <a:gdLst>
                <a:gd name="T0" fmla="*/ 7 w 4460"/>
                <a:gd name="T1" fmla="*/ 1813 h 2539"/>
                <a:gd name="T2" fmla="*/ 110 w 4460"/>
                <a:gd name="T3" fmla="*/ 2018 h 2539"/>
                <a:gd name="T4" fmla="*/ 268 w 4460"/>
                <a:gd name="T5" fmla="*/ 2175 h 2539"/>
                <a:gd name="T6" fmla="*/ 622 w 4460"/>
                <a:gd name="T7" fmla="*/ 2369 h 2539"/>
                <a:gd name="T8" fmla="*/ 1057 w 4460"/>
                <a:gd name="T9" fmla="*/ 2533 h 2539"/>
                <a:gd name="T10" fmla="*/ 1430 w 4460"/>
                <a:gd name="T11" fmla="*/ 2402 h 2539"/>
                <a:gd name="T12" fmla="*/ 1843 w 4460"/>
                <a:gd name="T13" fmla="*/ 2058 h 2539"/>
                <a:gd name="T14" fmla="*/ 2127 w 4460"/>
                <a:gd name="T15" fmla="*/ 1790 h 2539"/>
                <a:gd name="T16" fmla="*/ 2583 w 4460"/>
                <a:gd name="T17" fmla="*/ 1634 h 2539"/>
                <a:gd name="T18" fmla="*/ 2826 w 4460"/>
                <a:gd name="T19" fmla="*/ 1661 h 2539"/>
                <a:gd name="T20" fmla="*/ 3298 w 4460"/>
                <a:gd name="T21" fmla="*/ 1786 h 2539"/>
                <a:gd name="T22" fmla="*/ 3720 w 4460"/>
                <a:gd name="T23" fmla="*/ 1738 h 2539"/>
                <a:gd name="T24" fmla="*/ 3972 w 4460"/>
                <a:gd name="T25" fmla="*/ 1624 h 2539"/>
                <a:gd name="T26" fmla="*/ 4271 w 4460"/>
                <a:gd name="T27" fmla="*/ 1372 h 2539"/>
                <a:gd name="T28" fmla="*/ 4460 w 4460"/>
                <a:gd name="T29" fmla="*/ 1027 h 2539"/>
                <a:gd name="T30" fmla="*/ 4293 w 4460"/>
                <a:gd name="T31" fmla="*/ 649 h 2539"/>
                <a:gd name="T32" fmla="*/ 3947 w 4460"/>
                <a:gd name="T33" fmla="*/ 240 h 2539"/>
                <a:gd name="T34" fmla="*/ 3560 w 4460"/>
                <a:gd name="T35" fmla="*/ 9 h 2539"/>
                <a:gd name="T36" fmla="*/ 3458 w 4460"/>
                <a:gd name="T37" fmla="*/ 1 h 2539"/>
                <a:gd name="T38" fmla="*/ 3356 w 4460"/>
                <a:gd name="T39" fmla="*/ 23 h 2539"/>
                <a:gd name="T40" fmla="*/ 3084 w 4460"/>
                <a:gd name="T41" fmla="*/ 145 h 2539"/>
                <a:gd name="T42" fmla="*/ 2677 w 4460"/>
                <a:gd name="T43" fmla="*/ 357 h 2539"/>
                <a:gd name="T44" fmla="*/ 2339 w 4460"/>
                <a:gd name="T45" fmla="*/ 570 h 2539"/>
                <a:gd name="T46" fmla="*/ 1976 w 4460"/>
                <a:gd name="T47" fmla="*/ 763 h 2539"/>
                <a:gd name="T48" fmla="*/ 1721 w 4460"/>
                <a:gd name="T49" fmla="*/ 894 h 2539"/>
                <a:gd name="T50" fmla="*/ 1431 w 4460"/>
                <a:gd name="T51" fmla="*/ 924 h 2539"/>
                <a:gd name="T52" fmla="*/ 1191 w 4460"/>
                <a:gd name="T53" fmla="*/ 898 h 2539"/>
                <a:gd name="T54" fmla="*/ 799 w 4460"/>
                <a:gd name="T55" fmla="*/ 905 h 2539"/>
                <a:gd name="T56" fmla="*/ 466 w 4460"/>
                <a:gd name="T57" fmla="*/ 996 h 2539"/>
                <a:gd name="T58" fmla="*/ 260 w 4460"/>
                <a:gd name="T59" fmla="*/ 1223 h 2539"/>
                <a:gd name="T60" fmla="*/ 399 w 4460"/>
                <a:gd name="T61" fmla="*/ 1083 h 2539"/>
                <a:gd name="T62" fmla="*/ 593 w 4460"/>
                <a:gd name="T63" fmla="*/ 958 h 2539"/>
                <a:gd name="T64" fmla="*/ 847 w 4460"/>
                <a:gd name="T65" fmla="*/ 903 h 2539"/>
                <a:gd name="T66" fmla="*/ 1244 w 4460"/>
                <a:gd name="T67" fmla="*/ 931 h 2539"/>
                <a:gd name="T68" fmla="*/ 1524 w 4460"/>
                <a:gd name="T69" fmla="*/ 928 h 2539"/>
                <a:gd name="T70" fmla="*/ 1958 w 4460"/>
                <a:gd name="T71" fmla="*/ 802 h 2539"/>
                <a:gd name="T72" fmla="*/ 2262 w 4460"/>
                <a:gd name="T73" fmla="*/ 619 h 2539"/>
                <a:gd name="T74" fmla="*/ 2730 w 4460"/>
                <a:gd name="T75" fmla="*/ 355 h 2539"/>
                <a:gd name="T76" fmla="*/ 3067 w 4460"/>
                <a:gd name="T77" fmla="*/ 156 h 2539"/>
                <a:gd name="T78" fmla="*/ 3465 w 4460"/>
                <a:gd name="T79" fmla="*/ 25 h 2539"/>
                <a:gd name="T80" fmla="*/ 3611 w 4460"/>
                <a:gd name="T81" fmla="*/ 38 h 2539"/>
                <a:gd name="T82" fmla="*/ 3905 w 4460"/>
                <a:gd name="T83" fmla="*/ 221 h 2539"/>
                <a:gd name="T84" fmla="*/ 4201 w 4460"/>
                <a:gd name="T85" fmla="*/ 543 h 2539"/>
                <a:gd name="T86" fmla="*/ 4422 w 4460"/>
                <a:gd name="T87" fmla="*/ 940 h 2539"/>
                <a:gd name="T88" fmla="*/ 4414 w 4460"/>
                <a:gd name="T89" fmla="*/ 1156 h 2539"/>
                <a:gd name="T90" fmla="*/ 4126 w 4460"/>
                <a:gd name="T91" fmla="*/ 1490 h 2539"/>
                <a:gd name="T92" fmla="*/ 3800 w 4460"/>
                <a:gd name="T93" fmla="*/ 1695 h 2539"/>
                <a:gd name="T94" fmla="*/ 3397 w 4460"/>
                <a:gd name="T95" fmla="*/ 1775 h 2539"/>
                <a:gd name="T96" fmla="*/ 3206 w 4460"/>
                <a:gd name="T97" fmla="*/ 1744 h 2539"/>
                <a:gd name="T98" fmla="*/ 2779 w 4460"/>
                <a:gd name="T99" fmla="*/ 1648 h 2539"/>
                <a:gd name="T100" fmla="*/ 2428 w 4460"/>
                <a:gd name="T101" fmla="*/ 1631 h 2539"/>
                <a:gd name="T102" fmla="*/ 2142 w 4460"/>
                <a:gd name="T103" fmla="*/ 1776 h 2539"/>
                <a:gd name="T104" fmla="*/ 1791 w 4460"/>
                <a:gd name="T105" fmla="*/ 2071 h 2539"/>
                <a:gd name="T106" fmla="*/ 1500 w 4460"/>
                <a:gd name="T107" fmla="*/ 2345 h 2539"/>
                <a:gd name="T108" fmla="*/ 1151 w 4460"/>
                <a:gd name="T109" fmla="*/ 2510 h 2539"/>
                <a:gd name="T110" fmla="*/ 929 w 4460"/>
                <a:gd name="T111" fmla="*/ 2488 h 2539"/>
                <a:gd name="T112" fmla="*/ 422 w 4460"/>
                <a:gd name="T113" fmla="*/ 2245 h 2539"/>
                <a:gd name="T114" fmla="*/ 203 w 4460"/>
                <a:gd name="T115" fmla="*/ 2109 h 2539"/>
                <a:gd name="T116" fmla="*/ 30 w 4460"/>
                <a:gd name="T117" fmla="*/ 1853 h 2539"/>
                <a:gd name="T118" fmla="*/ 25 w 4460"/>
                <a:gd name="T119" fmla="*/ 1754 h 2539"/>
                <a:gd name="T120" fmla="*/ 42 w 4460"/>
                <a:gd name="T121" fmla="*/ 1657 h 2539"/>
                <a:gd name="T122" fmla="*/ 81 w 4460"/>
                <a:gd name="T123" fmla="*/ 1549 h 2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60" h="2539">
                  <a:moveTo>
                    <a:pt x="182" y="1339"/>
                  </a:moveTo>
                  <a:cubicBezTo>
                    <a:pt x="154" y="1383"/>
                    <a:pt x="127" y="1426"/>
                    <a:pt x="108" y="1456"/>
                  </a:cubicBezTo>
                  <a:cubicBezTo>
                    <a:pt x="102" y="1466"/>
                    <a:pt x="96" y="1474"/>
                    <a:pt x="89" y="1486"/>
                  </a:cubicBezTo>
                  <a:cubicBezTo>
                    <a:pt x="67" y="1523"/>
                    <a:pt x="38" y="1582"/>
                    <a:pt x="20" y="1641"/>
                  </a:cubicBezTo>
                  <a:cubicBezTo>
                    <a:pt x="20" y="1642"/>
                    <a:pt x="19" y="1643"/>
                    <a:pt x="19" y="1644"/>
                  </a:cubicBezTo>
                  <a:cubicBezTo>
                    <a:pt x="18" y="1646"/>
                    <a:pt x="18" y="1648"/>
                    <a:pt x="17" y="1650"/>
                  </a:cubicBezTo>
                  <a:cubicBezTo>
                    <a:pt x="13" y="1666"/>
                    <a:pt x="9" y="1682"/>
                    <a:pt x="6" y="1697"/>
                  </a:cubicBezTo>
                  <a:cubicBezTo>
                    <a:pt x="1" y="1725"/>
                    <a:pt x="0" y="1754"/>
                    <a:pt x="2" y="1779"/>
                  </a:cubicBezTo>
                  <a:cubicBezTo>
                    <a:pt x="4" y="1791"/>
                    <a:pt x="5" y="1803"/>
                    <a:pt x="7" y="1813"/>
                  </a:cubicBezTo>
                  <a:cubicBezTo>
                    <a:pt x="8" y="1818"/>
                    <a:pt x="9" y="1824"/>
                    <a:pt x="10" y="1829"/>
                  </a:cubicBezTo>
                  <a:cubicBezTo>
                    <a:pt x="12" y="1834"/>
                    <a:pt x="13" y="1838"/>
                    <a:pt x="14" y="1842"/>
                  </a:cubicBezTo>
                  <a:cubicBezTo>
                    <a:pt x="15" y="1845"/>
                    <a:pt x="16" y="1847"/>
                    <a:pt x="17" y="1850"/>
                  </a:cubicBezTo>
                  <a:cubicBezTo>
                    <a:pt x="18" y="1853"/>
                    <a:pt x="19" y="1856"/>
                    <a:pt x="20" y="1858"/>
                  </a:cubicBezTo>
                  <a:cubicBezTo>
                    <a:pt x="21" y="1861"/>
                    <a:pt x="22" y="1864"/>
                    <a:pt x="23" y="1867"/>
                  </a:cubicBezTo>
                  <a:cubicBezTo>
                    <a:pt x="24" y="1872"/>
                    <a:pt x="24" y="1872"/>
                    <a:pt x="24" y="1872"/>
                  </a:cubicBezTo>
                  <a:cubicBezTo>
                    <a:pt x="26" y="1877"/>
                    <a:pt x="26" y="1877"/>
                    <a:pt x="26" y="1877"/>
                  </a:cubicBezTo>
                  <a:cubicBezTo>
                    <a:pt x="34" y="1896"/>
                    <a:pt x="45" y="1920"/>
                    <a:pt x="58" y="1944"/>
                  </a:cubicBezTo>
                  <a:cubicBezTo>
                    <a:pt x="73" y="1969"/>
                    <a:pt x="91" y="1994"/>
                    <a:pt x="110" y="2018"/>
                  </a:cubicBezTo>
                  <a:cubicBezTo>
                    <a:pt x="110" y="2018"/>
                    <a:pt x="110" y="2018"/>
                    <a:pt x="110" y="2018"/>
                  </a:cubicBezTo>
                  <a:cubicBezTo>
                    <a:pt x="120" y="2031"/>
                    <a:pt x="131" y="2043"/>
                    <a:pt x="142" y="2055"/>
                  </a:cubicBezTo>
                  <a:cubicBezTo>
                    <a:pt x="144" y="2058"/>
                    <a:pt x="146" y="2060"/>
                    <a:pt x="148" y="2063"/>
                  </a:cubicBezTo>
                  <a:cubicBezTo>
                    <a:pt x="151" y="2065"/>
                    <a:pt x="153" y="2067"/>
                    <a:pt x="155" y="2070"/>
                  </a:cubicBezTo>
                  <a:cubicBezTo>
                    <a:pt x="160" y="2074"/>
                    <a:pt x="164" y="2079"/>
                    <a:pt x="169" y="2084"/>
                  </a:cubicBezTo>
                  <a:cubicBezTo>
                    <a:pt x="173" y="2088"/>
                    <a:pt x="177" y="2093"/>
                    <a:pt x="182" y="2097"/>
                  </a:cubicBezTo>
                  <a:cubicBezTo>
                    <a:pt x="186" y="2102"/>
                    <a:pt x="190" y="2106"/>
                    <a:pt x="195" y="2110"/>
                  </a:cubicBezTo>
                  <a:cubicBezTo>
                    <a:pt x="211" y="2126"/>
                    <a:pt x="228" y="2140"/>
                    <a:pt x="241" y="2152"/>
                  </a:cubicBezTo>
                  <a:cubicBezTo>
                    <a:pt x="250" y="2160"/>
                    <a:pt x="258" y="2167"/>
                    <a:pt x="268" y="2175"/>
                  </a:cubicBezTo>
                  <a:cubicBezTo>
                    <a:pt x="302" y="2203"/>
                    <a:pt x="356" y="2238"/>
                    <a:pt x="410" y="2268"/>
                  </a:cubicBezTo>
                  <a:cubicBezTo>
                    <a:pt x="410" y="2268"/>
                    <a:pt x="411" y="2269"/>
                    <a:pt x="412" y="2270"/>
                  </a:cubicBezTo>
                  <a:cubicBezTo>
                    <a:pt x="414" y="2271"/>
                    <a:pt x="416" y="2272"/>
                    <a:pt x="418" y="2273"/>
                  </a:cubicBezTo>
                  <a:cubicBezTo>
                    <a:pt x="432" y="2280"/>
                    <a:pt x="446" y="2288"/>
                    <a:pt x="459" y="2295"/>
                  </a:cubicBezTo>
                  <a:cubicBezTo>
                    <a:pt x="472" y="2302"/>
                    <a:pt x="484" y="2308"/>
                    <a:pt x="496" y="2314"/>
                  </a:cubicBezTo>
                  <a:cubicBezTo>
                    <a:pt x="508" y="2320"/>
                    <a:pt x="520" y="2325"/>
                    <a:pt x="531" y="2330"/>
                  </a:cubicBezTo>
                  <a:cubicBezTo>
                    <a:pt x="542" y="2336"/>
                    <a:pt x="552" y="2340"/>
                    <a:pt x="561" y="2344"/>
                  </a:cubicBezTo>
                  <a:cubicBezTo>
                    <a:pt x="571" y="2348"/>
                    <a:pt x="581" y="2353"/>
                    <a:pt x="589" y="2356"/>
                  </a:cubicBezTo>
                  <a:cubicBezTo>
                    <a:pt x="598" y="2359"/>
                    <a:pt x="610" y="2364"/>
                    <a:pt x="622" y="2369"/>
                  </a:cubicBezTo>
                  <a:cubicBezTo>
                    <a:pt x="641" y="2377"/>
                    <a:pt x="665" y="2388"/>
                    <a:pt x="690" y="2399"/>
                  </a:cubicBezTo>
                  <a:cubicBezTo>
                    <a:pt x="716" y="2410"/>
                    <a:pt x="744" y="2423"/>
                    <a:pt x="773" y="2436"/>
                  </a:cubicBezTo>
                  <a:cubicBezTo>
                    <a:pt x="773" y="2436"/>
                    <a:pt x="773" y="2436"/>
                    <a:pt x="773" y="2436"/>
                  </a:cubicBezTo>
                  <a:cubicBezTo>
                    <a:pt x="780" y="2439"/>
                    <a:pt x="788" y="2442"/>
                    <a:pt x="795" y="2445"/>
                  </a:cubicBezTo>
                  <a:cubicBezTo>
                    <a:pt x="802" y="2448"/>
                    <a:pt x="810" y="2451"/>
                    <a:pt x="817" y="2455"/>
                  </a:cubicBezTo>
                  <a:cubicBezTo>
                    <a:pt x="866" y="2475"/>
                    <a:pt x="913" y="2493"/>
                    <a:pt x="946" y="2504"/>
                  </a:cubicBezTo>
                  <a:cubicBezTo>
                    <a:pt x="952" y="2506"/>
                    <a:pt x="958" y="2508"/>
                    <a:pt x="963" y="2510"/>
                  </a:cubicBezTo>
                  <a:cubicBezTo>
                    <a:pt x="968" y="2512"/>
                    <a:pt x="974" y="2514"/>
                    <a:pt x="980" y="2516"/>
                  </a:cubicBezTo>
                  <a:cubicBezTo>
                    <a:pt x="1001" y="2522"/>
                    <a:pt x="1028" y="2528"/>
                    <a:pt x="1057" y="2533"/>
                  </a:cubicBezTo>
                  <a:cubicBezTo>
                    <a:pt x="1086" y="2537"/>
                    <a:pt x="1119" y="2539"/>
                    <a:pt x="1150" y="2536"/>
                  </a:cubicBezTo>
                  <a:cubicBezTo>
                    <a:pt x="1151" y="2536"/>
                    <a:pt x="1152" y="2536"/>
                    <a:pt x="1154" y="2536"/>
                  </a:cubicBezTo>
                  <a:cubicBezTo>
                    <a:pt x="1156" y="2536"/>
                    <a:pt x="1158" y="2536"/>
                    <a:pt x="1160" y="2535"/>
                  </a:cubicBezTo>
                  <a:cubicBezTo>
                    <a:pt x="1176" y="2533"/>
                    <a:pt x="1193" y="2530"/>
                    <a:pt x="1208" y="2526"/>
                  </a:cubicBezTo>
                  <a:cubicBezTo>
                    <a:pt x="1236" y="2518"/>
                    <a:pt x="1261" y="2506"/>
                    <a:pt x="1283" y="2495"/>
                  </a:cubicBezTo>
                  <a:cubicBezTo>
                    <a:pt x="1294" y="2489"/>
                    <a:pt x="1304" y="2484"/>
                    <a:pt x="1313" y="2479"/>
                  </a:cubicBezTo>
                  <a:cubicBezTo>
                    <a:pt x="1322" y="2474"/>
                    <a:pt x="1331" y="2468"/>
                    <a:pt x="1338" y="2463"/>
                  </a:cubicBezTo>
                  <a:cubicBezTo>
                    <a:pt x="1347" y="2458"/>
                    <a:pt x="1358" y="2451"/>
                    <a:pt x="1369" y="2444"/>
                  </a:cubicBezTo>
                  <a:cubicBezTo>
                    <a:pt x="1386" y="2433"/>
                    <a:pt x="1408" y="2418"/>
                    <a:pt x="1430" y="2402"/>
                  </a:cubicBezTo>
                  <a:cubicBezTo>
                    <a:pt x="1453" y="2385"/>
                    <a:pt x="1477" y="2365"/>
                    <a:pt x="1501" y="2346"/>
                  </a:cubicBezTo>
                  <a:cubicBezTo>
                    <a:pt x="1501" y="2346"/>
                    <a:pt x="1501" y="2346"/>
                    <a:pt x="1501" y="2346"/>
                  </a:cubicBezTo>
                  <a:cubicBezTo>
                    <a:pt x="1513" y="2336"/>
                    <a:pt x="1526" y="2325"/>
                    <a:pt x="1538" y="2315"/>
                  </a:cubicBezTo>
                  <a:cubicBezTo>
                    <a:pt x="1580" y="2281"/>
                    <a:pt x="1619" y="2251"/>
                    <a:pt x="1647" y="2229"/>
                  </a:cubicBezTo>
                  <a:cubicBezTo>
                    <a:pt x="1657" y="2222"/>
                    <a:pt x="1665" y="2216"/>
                    <a:pt x="1675" y="2207"/>
                  </a:cubicBezTo>
                  <a:cubicBezTo>
                    <a:pt x="1709" y="2181"/>
                    <a:pt x="1757" y="2138"/>
                    <a:pt x="1802" y="2096"/>
                  </a:cubicBezTo>
                  <a:cubicBezTo>
                    <a:pt x="1802" y="2096"/>
                    <a:pt x="1803" y="2095"/>
                    <a:pt x="1804" y="2094"/>
                  </a:cubicBezTo>
                  <a:cubicBezTo>
                    <a:pt x="1805" y="2093"/>
                    <a:pt x="1807" y="2091"/>
                    <a:pt x="1809" y="2090"/>
                  </a:cubicBezTo>
                  <a:cubicBezTo>
                    <a:pt x="1820" y="2079"/>
                    <a:pt x="1831" y="2068"/>
                    <a:pt x="1843" y="2058"/>
                  </a:cubicBezTo>
                  <a:cubicBezTo>
                    <a:pt x="1863" y="2039"/>
                    <a:pt x="1882" y="2020"/>
                    <a:pt x="1899" y="2002"/>
                  </a:cubicBezTo>
                  <a:cubicBezTo>
                    <a:pt x="1908" y="1994"/>
                    <a:pt x="1916" y="1986"/>
                    <a:pt x="1923" y="1979"/>
                  </a:cubicBezTo>
                  <a:cubicBezTo>
                    <a:pt x="1930" y="1971"/>
                    <a:pt x="1938" y="1963"/>
                    <a:pt x="1943" y="1957"/>
                  </a:cubicBezTo>
                  <a:cubicBezTo>
                    <a:pt x="1950" y="1950"/>
                    <a:pt x="1959" y="1940"/>
                    <a:pt x="1968" y="1931"/>
                  </a:cubicBezTo>
                  <a:cubicBezTo>
                    <a:pt x="1982" y="1916"/>
                    <a:pt x="2001" y="1898"/>
                    <a:pt x="2021" y="1880"/>
                  </a:cubicBezTo>
                  <a:cubicBezTo>
                    <a:pt x="2042" y="1860"/>
                    <a:pt x="2065" y="1839"/>
                    <a:pt x="2089" y="1820"/>
                  </a:cubicBezTo>
                  <a:cubicBezTo>
                    <a:pt x="2089" y="1820"/>
                    <a:pt x="2089" y="1820"/>
                    <a:pt x="2089" y="1820"/>
                  </a:cubicBezTo>
                  <a:cubicBezTo>
                    <a:pt x="2095" y="1815"/>
                    <a:pt x="2102" y="1810"/>
                    <a:pt x="2108" y="1804"/>
                  </a:cubicBezTo>
                  <a:cubicBezTo>
                    <a:pt x="2114" y="1800"/>
                    <a:pt x="2121" y="1795"/>
                    <a:pt x="2127" y="1790"/>
                  </a:cubicBezTo>
                  <a:cubicBezTo>
                    <a:pt x="2170" y="1758"/>
                    <a:pt x="2212" y="1732"/>
                    <a:pt x="2244" y="1717"/>
                  </a:cubicBezTo>
                  <a:cubicBezTo>
                    <a:pt x="2255" y="1712"/>
                    <a:pt x="2264" y="1708"/>
                    <a:pt x="2276" y="1703"/>
                  </a:cubicBezTo>
                  <a:cubicBezTo>
                    <a:pt x="2295" y="1695"/>
                    <a:pt x="2320" y="1686"/>
                    <a:pt x="2347" y="1678"/>
                  </a:cubicBezTo>
                  <a:cubicBezTo>
                    <a:pt x="2375" y="1671"/>
                    <a:pt x="2405" y="1664"/>
                    <a:pt x="2435" y="1656"/>
                  </a:cubicBezTo>
                  <a:cubicBezTo>
                    <a:pt x="2436" y="1656"/>
                    <a:pt x="2437" y="1656"/>
                    <a:pt x="2438" y="1656"/>
                  </a:cubicBezTo>
                  <a:cubicBezTo>
                    <a:pt x="2440" y="1655"/>
                    <a:pt x="2442" y="1655"/>
                    <a:pt x="2444" y="1654"/>
                  </a:cubicBezTo>
                  <a:cubicBezTo>
                    <a:pt x="2459" y="1650"/>
                    <a:pt x="2474" y="1647"/>
                    <a:pt x="2489" y="1644"/>
                  </a:cubicBezTo>
                  <a:cubicBezTo>
                    <a:pt x="2516" y="1639"/>
                    <a:pt x="2542" y="1635"/>
                    <a:pt x="2566" y="1634"/>
                  </a:cubicBezTo>
                  <a:cubicBezTo>
                    <a:pt x="2571" y="1634"/>
                    <a:pt x="2577" y="1634"/>
                    <a:pt x="2583" y="1634"/>
                  </a:cubicBezTo>
                  <a:cubicBezTo>
                    <a:pt x="2588" y="1634"/>
                    <a:pt x="2593" y="1634"/>
                    <a:pt x="2598" y="1634"/>
                  </a:cubicBezTo>
                  <a:cubicBezTo>
                    <a:pt x="2609" y="1634"/>
                    <a:pt x="2619" y="1634"/>
                    <a:pt x="2628" y="1634"/>
                  </a:cubicBezTo>
                  <a:cubicBezTo>
                    <a:pt x="2638" y="1633"/>
                    <a:pt x="2650" y="1634"/>
                    <a:pt x="2663" y="1635"/>
                  </a:cubicBezTo>
                  <a:cubicBezTo>
                    <a:pt x="2674" y="1635"/>
                    <a:pt x="2686" y="1636"/>
                    <a:pt x="2698" y="1638"/>
                  </a:cubicBezTo>
                  <a:cubicBezTo>
                    <a:pt x="2704" y="1638"/>
                    <a:pt x="2711" y="1639"/>
                    <a:pt x="2717" y="1640"/>
                  </a:cubicBezTo>
                  <a:cubicBezTo>
                    <a:pt x="2723" y="1641"/>
                    <a:pt x="2730" y="1642"/>
                    <a:pt x="2737" y="1642"/>
                  </a:cubicBezTo>
                  <a:cubicBezTo>
                    <a:pt x="2744" y="1643"/>
                    <a:pt x="2751" y="1645"/>
                    <a:pt x="2758" y="1646"/>
                  </a:cubicBezTo>
                  <a:cubicBezTo>
                    <a:pt x="2766" y="1648"/>
                    <a:pt x="2773" y="1649"/>
                    <a:pt x="2781" y="1650"/>
                  </a:cubicBezTo>
                  <a:cubicBezTo>
                    <a:pt x="2795" y="1654"/>
                    <a:pt x="2811" y="1657"/>
                    <a:pt x="2826" y="1661"/>
                  </a:cubicBezTo>
                  <a:cubicBezTo>
                    <a:pt x="2826" y="1661"/>
                    <a:pt x="2826" y="1661"/>
                    <a:pt x="2826" y="1661"/>
                  </a:cubicBezTo>
                  <a:cubicBezTo>
                    <a:pt x="2841" y="1665"/>
                    <a:pt x="2857" y="1669"/>
                    <a:pt x="2872" y="1673"/>
                  </a:cubicBezTo>
                  <a:cubicBezTo>
                    <a:pt x="2924" y="1687"/>
                    <a:pt x="2971" y="1702"/>
                    <a:pt x="3005" y="1713"/>
                  </a:cubicBezTo>
                  <a:cubicBezTo>
                    <a:pt x="3016" y="1717"/>
                    <a:pt x="3025" y="1721"/>
                    <a:pt x="3038" y="1725"/>
                  </a:cubicBezTo>
                  <a:cubicBezTo>
                    <a:pt x="3079" y="1739"/>
                    <a:pt x="3141" y="1757"/>
                    <a:pt x="3201" y="1770"/>
                  </a:cubicBezTo>
                  <a:cubicBezTo>
                    <a:pt x="3202" y="1770"/>
                    <a:pt x="3203" y="1770"/>
                    <a:pt x="3204" y="1770"/>
                  </a:cubicBezTo>
                  <a:cubicBezTo>
                    <a:pt x="3206" y="1771"/>
                    <a:pt x="3208" y="1771"/>
                    <a:pt x="3210" y="1772"/>
                  </a:cubicBezTo>
                  <a:cubicBezTo>
                    <a:pt x="3225" y="1775"/>
                    <a:pt x="3241" y="1778"/>
                    <a:pt x="3257" y="1780"/>
                  </a:cubicBezTo>
                  <a:cubicBezTo>
                    <a:pt x="3270" y="1783"/>
                    <a:pt x="3284" y="1784"/>
                    <a:pt x="3298" y="1786"/>
                  </a:cubicBezTo>
                  <a:cubicBezTo>
                    <a:pt x="3311" y="1788"/>
                    <a:pt x="3324" y="1789"/>
                    <a:pt x="3336" y="1790"/>
                  </a:cubicBezTo>
                  <a:cubicBezTo>
                    <a:pt x="3349" y="1790"/>
                    <a:pt x="3360" y="1790"/>
                    <a:pt x="3370" y="1790"/>
                  </a:cubicBezTo>
                  <a:cubicBezTo>
                    <a:pt x="3381" y="1790"/>
                    <a:pt x="3392" y="1790"/>
                    <a:pt x="3400" y="1790"/>
                  </a:cubicBezTo>
                  <a:cubicBezTo>
                    <a:pt x="3410" y="1789"/>
                    <a:pt x="3423" y="1789"/>
                    <a:pt x="3436" y="1788"/>
                  </a:cubicBezTo>
                  <a:cubicBezTo>
                    <a:pt x="3457" y="1787"/>
                    <a:pt x="3483" y="1785"/>
                    <a:pt x="3510" y="1783"/>
                  </a:cubicBezTo>
                  <a:cubicBezTo>
                    <a:pt x="3539" y="1780"/>
                    <a:pt x="3569" y="1776"/>
                    <a:pt x="3600" y="1770"/>
                  </a:cubicBezTo>
                  <a:cubicBezTo>
                    <a:pt x="3600" y="1770"/>
                    <a:pt x="3600" y="1770"/>
                    <a:pt x="3600" y="1770"/>
                  </a:cubicBezTo>
                  <a:cubicBezTo>
                    <a:pt x="3616" y="1766"/>
                    <a:pt x="3632" y="1763"/>
                    <a:pt x="3647" y="1759"/>
                  </a:cubicBezTo>
                  <a:cubicBezTo>
                    <a:pt x="3673" y="1752"/>
                    <a:pt x="3698" y="1745"/>
                    <a:pt x="3720" y="1738"/>
                  </a:cubicBezTo>
                  <a:cubicBezTo>
                    <a:pt x="3731" y="1735"/>
                    <a:pt x="3742" y="1731"/>
                    <a:pt x="3752" y="1728"/>
                  </a:cubicBezTo>
                  <a:cubicBezTo>
                    <a:pt x="3762" y="1725"/>
                    <a:pt x="3771" y="1722"/>
                    <a:pt x="3780" y="1719"/>
                  </a:cubicBezTo>
                  <a:cubicBezTo>
                    <a:pt x="3792" y="1715"/>
                    <a:pt x="3801" y="1712"/>
                    <a:pt x="3814" y="1707"/>
                  </a:cubicBezTo>
                  <a:cubicBezTo>
                    <a:pt x="3824" y="1703"/>
                    <a:pt x="3835" y="1699"/>
                    <a:pt x="3847" y="1693"/>
                  </a:cubicBezTo>
                  <a:cubicBezTo>
                    <a:pt x="3853" y="1690"/>
                    <a:pt x="3859" y="1687"/>
                    <a:pt x="3865" y="1684"/>
                  </a:cubicBezTo>
                  <a:cubicBezTo>
                    <a:pt x="3872" y="1681"/>
                    <a:pt x="3878" y="1678"/>
                    <a:pt x="3884" y="1675"/>
                  </a:cubicBezTo>
                  <a:cubicBezTo>
                    <a:pt x="3910" y="1661"/>
                    <a:pt x="3938" y="1645"/>
                    <a:pt x="3964" y="1629"/>
                  </a:cubicBezTo>
                  <a:cubicBezTo>
                    <a:pt x="3965" y="1628"/>
                    <a:pt x="3966" y="1628"/>
                    <a:pt x="3967" y="1627"/>
                  </a:cubicBezTo>
                  <a:cubicBezTo>
                    <a:pt x="3968" y="1626"/>
                    <a:pt x="3970" y="1625"/>
                    <a:pt x="3972" y="1624"/>
                  </a:cubicBezTo>
                  <a:cubicBezTo>
                    <a:pt x="3979" y="1620"/>
                    <a:pt x="3985" y="1615"/>
                    <a:pt x="3992" y="1611"/>
                  </a:cubicBezTo>
                  <a:cubicBezTo>
                    <a:pt x="3998" y="1606"/>
                    <a:pt x="4005" y="1602"/>
                    <a:pt x="4011" y="1598"/>
                  </a:cubicBezTo>
                  <a:cubicBezTo>
                    <a:pt x="4034" y="1582"/>
                    <a:pt x="4056" y="1565"/>
                    <a:pt x="4075" y="1550"/>
                  </a:cubicBezTo>
                  <a:cubicBezTo>
                    <a:pt x="4085" y="1543"/>
                    <a:pt x="4094" y="1535"/>
                    <a:pt x="4101" y="1529"/>
                  </a:cubicBezTo>
                  <a:cubicBezTo>
                    <a:pt x="4109" y="1522"/>
                    <a:pt x="4118" y="1515"/>
                    <a:pt x="4124" y="1509"/>
                  </a:cubicBezTo>
                  <a:cubicBezTo>
                    <a:pt x="4131" y="1502"/>
                    <a:pt x="4140" y="1494"/>
                    <a:pt x="4150" y="1485"/>
                  </a:cubicBezTo>
                  <a:cubicBezTo>
                    <a:pt x="4166" y="1470"/>
                    <a:pt x="4185" y="1453"/>
                    <a:pt x="4205" y="1435"/>
                  </a:cubicBezTo>
                  <a:cubicBezTo>
                    <a:pt x="4226" y="1415"/>
                    <a:pt x="4249" y="1394"/>
                    <a:pt x="4271" y="1372"/>
                  </a:cubicBezTo>
                  <a:cubicBezTo>
                    <a:pt x="4271" y="1372"/>
                    <a:pt x="4271" y="1372"/>
                    <a:pt x="4271" y="1372"/>
                  </a:cubicBezTo>
                  <a:cubicBezTo>
                    <a:pt x="4282" y="1361"/>
                    <a:pt x="4294" y="1349"/>
                    <a:pt x="4304" y="1338"/>
                  </a:cubicBezTo>
                  <a:cubicBezTo>
                    <a:pt x="4323" y="1318"/>
                    <a:pt x="4340" y="1299"/>
                    <a:pt x="4355" y="1281"/>
                  </a:cubicBezTo>
                  <a:cubicBezTo>
                    <a:pt x="4370" y="1263"/>
                    <a:pt x="4383" y="1246"/>
                    <a:pt x="4394" y="1232"/>
                  </a:cubicBezTo>
                  <a:cubicBezTo>
                    <a:pt x="4398" y="1227"/>
                    <a:pt x="4401" y="1222"/>
                    <a:pt x="4404" y="1217"/>
                  </a:cubicBezTo>
                  <a:cubicBezTo>
                    <a:pt x="4408" y="1213"/>
                    <a:pt x="4411" y="1208"/>
                    <a:pt x="4414" y="1202"/>
                  </a:cubicBezTo>
                  <a:cubicBezTo>
                    <a:pt x="4426" y="1183"/>
                    <a:pt x="4438" y="1158"/>
                    <a:pt x="4446" y="1129"/>
                  </a:cubicBezTo>
                  <a:cubicBezTo>
                    <a:pt x="4455" y="1100"/>
                    <a:pt x="4460" y="1068"/>
                    <a:pt x="4460" y="1036"/>
                  </a:cubicBezTo>
                  <a:cubicBezTo>
                    <a:pt x="4460" y="1035"/>
                    <a:pt x="4460" y="1034"/>
                    <a:pt x="4460" y="1033"/>
                  </a:cubicBezTo>
                  <a:cubicBezTo>
                    <a:pt x="4460" y="1031"/>
                    <a:pt x="4460" y="1029"/>
                    <a:pt x="4460" y="1027"/>
                  </a:cubicBezTo>
                  <a:cubicBezTo>
                    <a:pt x="4459" y="1010"/>
                    <a:pt x="4458" y="994"/>
                    <a:pt x="4455" y="978"/>
                  </a:cubicBezTo>
                  <a:cubicBezTo>
                    <a:pt x="4450" y="950"/>
                    <a:pt x="4443" y="923"/>
                    <a:pt x="4435" y="900"/>
                  </a:cubicBezTo>
                  <a:cubicBezTo>
                    <a:pt x="4431" y="888"/>
                    <a:pt x="4427" y="878"/>
                    <a:pt x="4423" y="868"/>
                  </a:cubicBezTo>
                  <a:cubicBezTo>
                    <a:pt x="4419" y="858"/>
                    <a:pt x="4414" y="848"/>
                    <a:pt x="4410" y="841"/>
                  </a:cubicBezTo>
                  <a:cubicBezTo>
                    <a:pt x="4406" y="832"/>
                    <a:pt x="4400" y="820"/>
                    <a:pt x="4394" y="809"/>
                  </a:cubicBezTo>
                  <a:cubicBezTo>
                    <a:pt x="4384" y="790"/>
                    <a:pt x="4371" y="767"/>
                    <a:pt x="4357" y="744"/>
                  </a:cubicBezTo>
                  <a:cubicBezTo>
                    <a:pt x="4342" y="720"/>
                    <a:pt x="4325" y="694"/>
                    <a:pt x="4307" y="668"/>
                  </a:cubicBezTo>
                  <a:cubicBezTo>
                    <a:pt x="4307" y="668"/>
                    <a:pt x="4307" y="668"/>
                    <a:pt x="4307" y="668"/>
                  </a:cubicBezTo>
                  <a:cubicBezTo>
                    <a:pt x="4303" y="662"/>
                    <a:pt x="4298" y="655"/>
                    <a:pt x="4293" y="649"/>
                  </a:cubicBezTo>
                  <a:cubicBezTo>
                    <a:pt x="4288" y="642"/>
                    <a:pt x="4283" y="636"/>
                    <a:pt x="4279" y="629"/>
                  </a:cubicBezTo>
                  <a:cubicBezTo>
                    <a:pt x="4247" y="587"/>
                    <a:pt x="4216" y="548"/>
                    <a:pt x="4195" y="520"/>
                  </a:cubicBezTo>
                  <a:cubicBezTo>
                    <a:pt x="4187" y="510"/>
                    <a:pt x="4182" y="502"/>
                    <a:pt x="4174" y="491"/>
                  </a:cubicBezTo>
                  <a:cubicBezTo>
                    <a:pt x="4148" y="457"/>
                    <a:pt x="4107" y="407"/>
                    <a:pt x="4067" y="361"/>
                  </a:cubicBezTo>
                  <a:cubicBezTo>
                    <a:pt x="4066" y="360"/>
                    <a:pt x="4065" y="359"/>
                    <a:pt x="4064" y="358"/>
                  </a:cubicBezTo>
                  <a:cubicBezTo>
                    <a:pt x="4063" y="357"/>
                    <a:pt x="4062" y="355"/>
                    <a:pt x="4060" y="354"/>
                  </a:cubicBezTo>
                  <a:cubicBezTo>
                    <a:pt x="4050" y="342"/>
                    <a:pt x="4039" y="330"/>
                    <a:pt x="4028" y="319"/>
                  </a:cubicBezTo>
                  <a:cubicBezTo>
                    <a:pt x="4009" y="299"/>
                    <a:pt x="3990" y="280"/>
                    <a:pt x="3972" y="263"/>
                  </a:cubicBezTo>
                  <a:cubicBezTo>
                    <a:pt x="3963" y="254"/>
                    <a:pt x="3955" y="247"/>
                    <a:pt x="3947" y="240"/>
                  </a:cubicBezTo>
                  <a:cubicBezTo>
                    <a:pt x="3939" y="233"/>
                    <a:pt x="3931" y="226"/>
                    <a:pt x="3924" y="221"/>
                  </a:cubicBezTo>
                  <a:cubicBezTo>
                    <a:pt x="3916" y="214"/>
                    <a:pt x="3906" y="206"/>
                    <a:pt x="3896" y="198"/>
                  </a:cubicBezTo>
                  <a:cubicBezTo>
                    <a:pt x="3880" y="185"/>
                    <a:pt x="3860" y="169"/>
                    <a:pt x="3838" y="153"/>
                  </a:cubicBezTo>
                  <a:cubicBezTo>
                    <a:pt x="3815" y="135"/>
                    <a:pt x="3790" y="117"/>
                    <a:pt x="3763" y="102"/>
                  </a:cubicBezTo>
                  <a:cubicBezTo>
                    <a:pt x="3763" y="102"/>
                    <a:pt x="3763" y="102"/>
                    <a:pt x="3763" y="102"/>
                  </a:cubicBezTo>
                  <a:cubicBezTo>
                    <a:pt x="3756" y="97"/>
                    <a:pt x="3749" y="94"/>
                    <a:pt x="3741" y="90"/>
                  </a:cubicBezTo>
                  <a:cubicBezTo>
                    <a:pt x="3734" y="86"/>
                    <a:pt x="3727" y="83"/>
                    <a:pt x="3720" y="79"/>
                  </a:cubicBezTo>
                  <a:cubicBezTo>
                    <a:pt x="3672" y="57"/>
                    <a:pt x="3628" y="33"/>
                    <a:pt x="3594" y="20"/>
                  </a:cubicBezTo>
                  <a:cubicBezTo>
                    <a:pt x="3582" y="16"/>
                    <a:pt x="3573" y="12"/>
                    <a:pt x="3560" y="9"/>
                  </a:cubicBezTo>
                  <a:cubicBezTo>
                    <a:pt x="3557" y="8"/>
                    <a:pt x="3554" y="7"/>
                    <a:pt x="3552" y="6"/>
                  </a:cubicBezTo>
                  <a:cubicBezTo>
                    <a:pt x="3549" y="6"/>
                    <a:pt x="3546" y="5"/>
                    <a:pt x="3543" y="4"/>
                  </a:cubicBezTo>
                  <a:cubicBezTo>
                    <a:pt x="3537" y="4"/>
                    <a:pt x="3530" y="3"/>
                    <a:pt x="3524" y="2"/>
                  </a:cubicBezTo>
                  <a:cubicBezTo>
                    <a:pt x="3520" y="1"/>
                    <a:pt x="3517" y="1"/>
                    <a:pt x="3513" y="1"/>
                  </a:cubicBezTo>
                  <a:cubicBezTo>
                    <a:pt x="3510" y="0"/>
                    <a:pt x="3506" y="0"/>
                    <a:pt x="3503" y="0"/>
                  </a:cubicBezTo>
                  <a:cubicBezTo>
                    <a:pt x="3499" y="0"/>
                    <a:pt x="3495" y="0"/>
                    <a:pt x="3492" y="0"/>
                  </a:cubicBezTo>
                  <a:cubicBezTo>
                    <a:pt x="3488" y="0"/>
                    <a:pt x="3484" y="0"/>
                    <a:pt x="3481" y="0"/>
                  </a:cubicBezTo>
                  <a:cubicBezTo>
                    <a:pt x="3477" y="0"/>
                    <a:pt x="3473" y="0"/>
                    <a:pt x="3469" y="1"/>
                  </a:cubicBezTo>
                  <a:cubicBezTo>
                    <a:pt x="3465" y="1"/>
                    <a:pt x="3462" y="1"/>
                    <a:pt x="3458" y="1"/>
                  </a:cubicBezTo>
                  <a:cubicBezTo>
                    <a:pt x="3450" y="2"/>
                    <a:pt x="3442" y="3"/>
                    <a:pt x="3435" y="4"/>
                  </a:cubicBezTo>
                  <a:cubicBezTo>
                    <a:pt x="3429" y="5"/>
                    <a:pt x="3429" y="5"/>
                    <a:pt x="3429" y="5"/>
                  </a:cubicBezTo>
                  <a:cubicBezTo>
                    <a:pt x="3423" y="6"/>
                    <a:pt x="3423" y="6"/>
                    <a:pt x="3423" y="6"/>
                  </a:cubicBezTo>
                  <a:cubicBezTo>
                    <a:pt x="3412" y="9"/>
                    <a:pt x="3412" y="9"/>
                    <a:pt x="3412" y="9"/>
                  </a:cubicBezTo>
                  <a:cubicBezTo>
                    <a:pt x="3408" y="10"/>
                    <a:pt x="3404" y="10"/>
                    <a:pt x="3400" y="11"/>
                  </a:cubicBezTo>
                  <a:cubicBezTo>
                    <a:pt x="3396" y="12"/>
                    <a:pt x="3392" y="13"/>
                    <a:pt x="3389" y="14"/>
                  </a:cubicBezTo>
                  <a:cubicBezTo>
                    <a:pt x="3388" y="14"/>
                    <a:pt x="3387" y="14"/>
                    <a:pt x="3385" y="15"/>
                  </a:cubicBezTo>
                  <a:cubicBezTo>
                    <a:pt x="3383" y="15"/>
                    <a:pt x="3381" y="16"/>
                    <a:pt x="3379" y="16"/>
                  </a:cubicBezTo>
                  <a:cubicBezTo>
                    <a:pt x="3372" y="18"/>
                    <a:pt x="3364" y="20"/>
                    <a:pt x="3356" y="23"/>
                  </a:cubicBezTo>
                  <a:cubicBezTo>
                    <a:pt x="3349" y="25"/>
                    <a:pt x="3341" y="27"/>
                    <a:pt x="3334" y="30"/>
                  </a:cubicBezTo>
                  <a:cubicBezTo>
                    <a:pt x="3327" y="32"/>
                    <a:pt x="3320" y="34"/>
                    <a:pt x="3314" y="36"/>
                  </a:cubicBezTo>
                  <a:cubicBezTo>
                    <a:pt x="3307" y="39"/>
                    <a:pt x="3301" y="41"/>
                    <a:pt x="3295" y="44"/>
                  </a:cubicBezTo>
                  <a:cubicBezTo>
                    <a:pt x="3282" y="48"/>
                    <a:pt x="3270" y="53"/>
                    <a:pt x="3259" y="58"/>
                  </a:cubicBezTo>
                  <a:cubicBezTo>
                    <a:pt x="3248" y="62"/>
                    <a:pt x="3237" y="67"/>
                    <a:pt x="3228" y="71"/>
                  </a:cubicBezTo>
                  <a:cubicBezTo>
                    <a:pt x="3219" y="76"/>
                    <a:pt x="3208" y="80"/>
                    <a:pt x="3201" y="84"/>
                  </a:cubicBezTo>
                  <a:cubicBezTo>
                    <a:pt x="3193" y="89"/>
                    <a:pt x="3181" y="95"/>
                    <a:pt x="3170" y="101"/>
                  </a:cubicBezTo>
                  <a:cubicBezTo>
                    <a:pt x="3150" y="110"/>
                    <a:pt x="3128" y="123"/>
                    <a:pt x="3104" y="135"/>
                  </a:cubicBezTo>
                  <a:cubicBezTo>
                    <a:pt x="3097" y="138"/>
                    <a:pt x="3091" y="141"/>
                    <a:pt x="3084" y="145"/>
                  </a:cubicBezTo>
                  <a:cubicBezTo>
                    <a:pt x="3077" y="148"/>
                    <a:pt x="3071" y="152"/>
                    <a:pt x="3064" y="155"/>
                  </a:cubicBezTo>
                  <a:cubicBezTo>
                    <a:pt x="3051" y="163"/>
                    <a:pt x="3037" y="170"/>
                    <a:pt x="3023" y="177"/>
                  </a:cubicBezTo>
                  <a:cubicBezTo>
                    <a:pt x="3023" y="177"/>
                    <a:pt x="3023" y="177"/>
                    <a:pt x="3023" y="177"/>
                  </a:cubicBezTo>
                  <a:cubicBezTo>
                    <a:pt x="3009" y="184"/>
                    <a:pt x="2994" y="192"/>
                    <a:pt x="2980" y="199"/>
                  </a:cubicBezTo>
                  <a:cubicBezTo>
                    <a:pt x="2957" y="212"/>
                    <a:pt x="2934" y="223"/>
                    <a:pt x="2913" y="234"/>
                  </a:cubicBezTo>
                  <a:cubicBezTo>
                    <a:pt x="2892" y="245"/>
                    <a:pt x="2873" y="254"/>
                    <a:pt x="2857" y="262"/>
                  </a:cubicBezTo>
                  <a:cubicBezTo>
                    <a:pt x="2846" y="267"/>
                    <a:pt x="2837" y="271"/>
                    <a:pt x="2825" y="277"/>
                  </a:cubicBezTo>
                  <a:cubicBezTo>
                    <a:pt x="2805" y="286"/>
                    <a:pt x="2781" y="298"/>
                    <a:pt x="2756" y="312"/>
                  </a:cubicBezTo>
                  <a:cubicBezTo>
                    <a:pt x="2730" y="326"/>
                    <a:pt x="2703" y="342"/>
                    <a:pt x="2677" y="357"/>
                  </a:cubicBezTo>
                  <a:cubicBezTo>
                    <a:pt x="2676" y="357"/>
                    <a:pt x="2675" y="358"/>
                    <a:pt x="2674" y="359"/>
                  </a:cubicBezTo>
                  <a:cubicBezTo>
                    <a:pt x="2672" y="360"/>
                    <a:pt x="2670" y="361"/>
                    <a:pt x="2668" y="362"/>
                  </a:cubicBezTo>
                  <a:cubicBezTo>
                    <a:pt x="2655" y="370"/>
                    <a:pt x="2641" y="378"/>
                    <a:pt x="2628" y="386"/>
                  </a:cubicBezTo>
                  <a:cubicBezTo>
                    <a:pt x="2604" y="400"/>
                    <a:pt x="2581" y="414"/>
                    <a:pt x="2561" y="427"/>
                  </a:cubicBezTo>
                  <a:cubicBezTo>
                    <a:pt x="2550" y="434"/>
                    <a:pt x="2541" y="440"/>
                    <a:pt x="2533" y="446"/>
                  </a:cubicBezTo>
                  <a:cubicBezTo>
                    <a:pt x="2524" y="452"/>
                    <a:pt x="2515" y="458"/>
                    <a:pt x="2508" y="463"/>
                  </a:cubicBezTo>
                  <a:cubicBezTo>
                    <a:pt x="2500" y="469"/>
                    <a:pt x="2490" y="476"/>
                    <a:pt x="2479" y="483"/>
                  </a:cubicBezTo>
                  <a:cubicBezTo>
                    <a:pt x="2461" y="495"/>
                    <a:pt x="2439" y="509"/>
                    <a:pt x="2417" y="523"/>
                  </a:cubicBezTo>
                  <a:cubicBezTo>
                    <a:pt x="2392" y="538"/>
                    <a:pt x="2366" y="554"/>
                    <a:pt x="2339" y="570"/>
                  </a:cubicBezTo>
                  <a:cubicBezTo>
                    <a:pt x="2339" y="570"/>
                    <a:pt x="2339" y="570"/>
                    <a:pt x="2339" y="570"/>
                  </a:cubicBezTo>
                  <a:cubicBezTo>
                    <a:pt x="2325" y="578"/>
                    <a:pt x="2311" y="587"/>
                    <a:pt x="2297" y="595"/>
                  </a:cubicBezTo>
                  <a:cubicBezTo>
                    <a:pt x="2251" y="621"/>
                    <a:pt x="2207" y="645"/>
                    <a:pt x="2175" y="660"/>
                  </a:cubicBezTo>
                  <a:cubicBezTo>
                    <a:pt x="2164" y="665"/>
                    <a:pt x="2155" y="669"/>
                    <a:pt x="2143" y="675"/>
                  </a:cubicBezTo>
                  <a:cubicBezTo>
                    <a:pt x="2124" y="685"/>
                    <a:pt x="2100" y="697"/>
                    <a:pt x="2075" y="711"/>
                  </a:cubicBezTo>
                  <a:cubicBezTo>
                    <a:pt x="2049" y="724"/>
                    <a:pt x="2022" y="739"/>
                    <a:pt x="1995" y="753"/>
                  </a:cubicBezTo>
                  <a:cubicBezTo>
                    <a:pt x="1992" y="755"/>
                    <a:pt x="1992" y="755"/>
                    <a:pt x="1992" y="755"/>
                  </a:cubicBezTo>
                  <a:cubicBezTo>
                    <a:pt x="1990" y="756"/>
                    <a:pt x="1988" y="757"/>
                    <a:pt x="1987" y="758"/>
                  </a:cubicBezTo>
                  <a:cubicBezTo>
                    <a:pt x="1983" y="760"/>
                    <a:pt x="1980" y="762"/>
                    <a:pt x="1976" y="763"/>
                  </a:cubicBezTo>
                  <a:cubicBezTo>
                    <a:pt x="1966" y="769"/>
                    <a:pt x="1966" y="769"/>
                    <a:pt x="1966" y="769"/>
                  </a:cubicBezTo>
                  <a:cubicBezTo>
                    <a:pt x="1959" y="772"/>
                    <a:pt x="1952" y="776"/>
                    <a:pt x="1945" y="780"/>
                  </a:cubicBezTo>
                  <a:cubicBezTo>
                    <a:pt x="1921" y="793"/>
                    <a:pt x="1897" y="805"/>
                    <a:pt x="1875" y="816"/>
                  </a:cubicBezTo>
                  <a:cubicBezTo>
                    <a:pt x="1865" y="822"/>
                    <a:pt x="1855" y="827"/>
                    <a:pt x="1846" y="832"/>
                  </a:cubicBezTo>
                  <a:cubicBezTo>
                    <a:pt x="1837" y="837"/>
                    <a:pt x="1827" y="842"/>
                    <a:pt x="1820" y="846"/>
                  </a:cubicBezTo>
                  <a:cubicBezTo>
                    <a:pt x="1811" y="851"/>
                    <a:pt x="1800" y="857"/>
                    <a:pt x="1789" y="863"/>
                  </a:cubicBezTo>
                  <a:cubicBezTo>
                    <a:pt x="1779" y="868"/>
                    <a:pt x="1769" y="873"/>
                    <a:pt x="1757" y="878"/>
                  </a:cubicBezTo>
                  <a:cubicBezTo>
                    <a:pt x="1752" y="881"/>
                    <a:pt x="1746" y="884"/>
                    <a:pt x="1740" y="886"/>
                  </a:cubicBezTo>
                  <a:cubicBezTo>
                    <a:pt x="1734" y="889"/>
                    <a:pt x="1728" y="891"/>
                    <a:pt x="1721" y="894"/>
                  </a:cubicBezTo>
                  <a:cubicBezTo>
                    <a:pt x="1695" y="904"/>
                    <a:pt x="1665" y="914"/>
                    <a:pt x="1634" y="918"/>
                  </a:cubicBezTo>
                  <a:cubicBezTo>
                    <a:pt x="1634" y="918"/>
                    <a:pt x="1634" y="918"/>
                    <a:pt x="1634" y="918"/>
                  </a:cubicBezTo>
                  <a:cubicBezTo>
                    <a:pt x="1618" y="920"/>
                    <a:pt x="1602" y="921"/>
                    <a:pt x="1586" y="921"/>
                  </a:cubicBezTo>
                  <a:cubicBezTo>
                    <a:pt x="1560" y="922"/>
                    <a:pt x="1534" y="923"/>
                    <a:pt x="1510" y="924"/>
                  </a:cubicBezTo>
                  <a:cubicBezTo>
                    <a:pt x="1504" y="924"/>
                    <a:pt x="1499" y="925"/>
                    <a:pt x="1493" y="925"/>
                  </a:cubicBezTo>
                  <a:cubicBezTo>
                    <a:pt x="1488" y="925"/>
                    <a:pt x="1482" y="925"/>
                    <a:pt x="1477" y="925"/>
                  </a:cubicBezTo>
                  <a:cubicBezTo>
                    <a:pt x="1472" y="925"/>
                    <a:pt x="1467" y="925"/>
                    <a:pt x="1462" y="925"/>
                  </a:cubicBezTo>
                  <a:cubicBezTo>
                    <a:pt x="1457" y="925"/>
                    <a:pt x="1453" y="925"/>
                    <a:pt x="1448" y="925"/>
                  </a:cubicBezTo>
                  <a:cubicBezTo>
                    <a:pt x="1442" y="924"/>
                    <a:pt x="1437" y="924"/>
                    <a:pt x="1431" y="924"/>
                  </a:cubicBezTo>
                  <a:cubicBezTo>
                    <a:pt x="1425" y="923"/>
                    <a:pt x="1420" y="922"/>
                    <a:pt x="1413" y="922"/>
                  </a:cubicBezTo>
                  <a:cubicBezTo>
                    <a:pt x="1408" y="921"/>
                    <a:pt x="1402" y="921"/>
                    <a:pt x="1396" y="920"/>
                  </a:cubicBezTo>
                  <a:cubicBezTo>
                    <a:pt x="1390" y="920"/>
                    <a:pt x="1384" y="919"/>
                    <a:pt x="1378" y="919"/>
                  </a:cubicBezTo>
                  <a:cubicBezTo>
                    <a:pt x="1365" y="918"/>
                    <a:pt x="1351" y="916"/>
                    <a:pt x="1337" y="915"/>
                  </a:cubicBezTo>
                  <a:cubicBezTo>
                    <a:pt x="1322" y="913"/>
                    <a:pt x="1307" y="911"/>
                    <a:pt x="1292" y="910"/>
                  </a:cubicBezTo>
                  <a:cubicBezTo>
                    <a:pt x="1277" y="908"/>
                    <a:pt x="1262" y="906"/>
                    <a:pt x="1247" y="905"/>
                  </a:cubicBezTo>
                  <a:cubicBezTo>
                    <a:pt x="1246" y="904"/>
                    <a:pt x="1245" y="904"/>
                    <a:pt x="1244" y="904"/>
                  </a:cubicBezTo>
                  <a:cubicBezTo>
                    <a:pt x="1241" y="904"/>
                    <a:pt x="1239" y="904"/>
                    <a:pt x="1237" y="904"/>
                  </a:cubicBezTo>
                  <a:cubicBezTo>
                    <a:pt x="1222" y="902"/>
                    <a:pt x="1206" y="900"/>
                    <a:pt x="1191" y="898"/>
                  </a:cubicBezTo>
                  <a:cubicBezTo>
                    <a:pt x="1163" y="896"/>
                    <a:pt x="1136" y="893"/>
                    <a:pt x="1111" y="892"/>
                  </a:cubicBezTo>
                  <a:cubicBezTo>
                    <a:pt x="1099" y="891"/>
                    <a:pt x="1088" y="891"/>
                    <a:pt x="1078" y="890"/>
                  </a:cubicBezTo>
                  <a:cubicBezTo>
                    <a:pt x="1067" y="890"/>
                    <a:pt x="1056" y="890"/>
                    <a:pt x="1048" y="890"/>
                  </a:cubicBezTo>
                  <a:cubicBezTo>
                    <a:pt x="1038" y="891"/>
                    <a:pt x="1025" y="891"/>
                    <a:pt x="1012" y="891"/>
                  </a:cubicBezTo>
                  <a:cubicBezTo>
                    <a:pt x="1001" y="892"/>
                    <a:pt x="990" y="892"/>
                    <a:pt x="977" y="893"/>
                  </a:cubicBezTo>
                  <a:cubicBezTo>
                    <a:pt x="965" y="893"/>
                    <a:pt x="951" y="894"/>
                    <a:pt x="938" y="895"/>
                  </a:cubicBezTo>
                  <a:cubicBezTo>
                    <a:pt x="909" y="897"/>
                    <a:pt x="878" y="899"/>
                    <a:pt x="847" y="901"/>
                  </a:cubicBezTo>
                  <a:cubicBezTo>
                    <a:pt x="847" y="901"/>
                    <a:pt x="847" y="901"/>
                    <a:pt x="847" y="901"/>
                  </a:cubicBezTo>
                  <a:cubicBezTo>
                    <a:pt x="831" y="903"/>
                    <a:pt x="815" y="904"/>
                    <a:pt x="799" y="905"/>
                  </a:cubicBezTo>
                  <a:cubicBezTo>
                    <a:pt x="773" y="907"/>
                    <a:pt x="747" y="910"/>
                    <a:pt x="724" y="912"/>
                  </a:cubicBezTo>
                  <a:cubicBezTo>
                    <a:pt x="712" y="914"/>
                    <a:pt x="701" y="915"/>
                    <a:pt x="690" y="916"/>
                  </a:cubicBezTo>
                  <a:cubicBezTo>
                    <a:pt x="680" y="918"/>
                    <a:pt x="670" y="919"/>
                    <a:pt x="661" y="921"/>
                  </a:cubicBezTo>
                  <a:cubicBezTo>
                    <a:pt x="649" y="923"/>
                    <a:pt x="639" y="924"/>
                    <a:pt x="626" y="927"/>
                  </a:cubicBezTo>
                  <a:cubicBezTo>
                    <a:pt x="615" y="929"/>
                    <a:pt x="604" y="932"/>
                    <a:pt x="591" y="936"/>
                  </a:cubicBezTo>
                  <a:cubicBezTo>
                    <a:pt x="584" y="938"/>
                    <a:pt x="578" y="940"/>
                    <a:pt x="571" y="943"/>
                  </a:cubicBezTo>
                  <a:cubicBezTo>
                    <a:pt x="565" y="945"/>
                    <a:pt x="558" y="948"/>
                    <a:pt x="551" y="950"/>
                  </a:cubicBezTo>
                  <a:cubicBezTo>
                    <a:pt x="523" y="962"/>
                    <a:pt x="495" y="977"/>
                    <a:pt x="469" y="995"/>
                  </a:cubicBezTo>
                  <a:cubicBezTo>
                    <a:pt x="468" y="995"/>
                    <a:pt x="467" y="996"/>
                    <a:pt x="466" y="996"/>
                  </a:cubicBezTo>
                  <a:cubicBezTo>
                    <a:pt x="465" y="998"/>
                    <a:pt x="463" y="999"/>
                    <a:pt x="461" y="1000"/>
                  </a:cubicBezTo>
                  <a:cubicBezTo>
                    <a:pt x="455" y="1005"/>
                    <a:pt x="448" y="1009"/>
                    <a:pt x="442" y="1014"/>
                  </a:cubicBezTo>
                  <a:cubicBezTo>
                    <a:pt x="436" y="1019"/>
                    <a:pt x="429" y="1024"/>
                    <a:pt x="423" y="1029"/>
                  </a:cubicBezTo>
                  <a:cubicBezTo>
                    <a:pt x="402" y="1047"/>
                    <a:pt x="382" y="1067"/>
                    <a:pt x="365" y="1085"/>
                  </a:cubicBezTo>
                  <a:cubicBezTo>
                    <a:pt x="357" y="1094"/>
                    <a:pt x="349" y="1102"/>
                    <a:pt x="343" y="1110"/>
                  </a:cubicBezTo>
                  <a:cubicBezTo>
                    <a:pt x="336" y="1118"/>
                    <a:pt x="329" y="1127"/>
                    <a:pt x="324" y="1134"/>
                  </a:cubicBezTo>
                  <a:cubicBezTo>
                    <a:pt x="319" y="1142"/>
                    <a:pt x="311" y="1152"/>
                    <a:pt x="303" y="1163"/>
                  </a:cubicBezTo>
                  <a:cubicBezTo>
                    <a:pt x="297" y="1171"/>
                    <a:pt x="290" y="1181"/>
                    <a:pt x="283" y="1191"/>
                  </a:cubicBezTo>
                  <a:cubicBezTo>
                    <a:pt x="275" y="1201"/>
                    <a:pt x="268" y="1212"/>
                    <a:pt x="260" y="1223"/>
                  </a:cubicBezTo>
                  <a:cubicBezTo>
                    <a:pt x="243" y="1247"/>
                    <a:pt x="226" y="1272"/>
                    <a:pt x="209" y="1298"/>
                  </a:cubicBezTo>
                  <a:cubicBezTo>
                    <a:pt x="210" y="1299"/>
                    <a:pt x="210" y="1299"/>
                    <a:pt x="210" y="1299"/>
                  </a:cubicBezTo>
                  <a:cubicBezTo>
                    <a:pt x="219" y="1286"/>
                    <a:pt x="228" y="1272"/>
                    <a:pt x="237" y="1259"/>
                  </a:cubicBezTo>
                  <a:cubicBezTo>
                    <a:pt x="268" y="1216"/>
                    <a:pt x="300" y="1178"/>
                    <a:pt x="325" y="1153"/>
                  </a:cubicBezTo>
                  <a:cubicBezTo>
                    <a:pt x="329" y="1149"/>
                    <a:pt x="333" y="1145"/>
                    <a:pt x="337" y="1141"/>
                  </a:cubicBezTo>
                  <a:cubicBezTo>
                    <a:pt x="341" y="1137"/>
                    <a:pt x="346" y="1133"/>
                    <a:pt x="350" y="1128"/>
                  </a:cubicBezTo>
                  <a:cubicBezTo>
                    <a:pt x="358" y="1121"/>
                    <a:pt x="367" y="1113"/>
                    <a:pt x="376" y="1104"/>
                  </a:cubicBezTo>
                  <a:cubicBezTo>
                    <a:pt x="381" y="1100"/>
                    <a:pt x="386" y="1095"/>
                    <a:pt x="391" y="1090"/>
                  </a:cubicBezTo>
                  <a:cubicBezTo>
                    <a:pt x="393" y="1088"/>
                    <a:pt x="396" y="1086"/>
                    <a:pt x="399" y="1083"/>
                  </a:cubicBezTo>
                  <a:cubicBezTo>
                    <a:pt x="401" y="1081"/>
                    <a:pt x="404" y="1079"/>
                    <a:pt x="407" y="1076"/>
                  </a:cubicBezTo>
                  <a:cubicBezTo>
                    <a:pt x="417" y="1067"/>
                    <a:pt x="429" y="1058"/>
                    <a:pt x="440" y="1048"/>
                  </a:cubicBezTo>
                  <a:cubicBezTo>
                    <a:pt x="446" y="1044"/>
                    <a:pt x="452" y="1039"/>
                    <a:pt x="458" y="1034"/>
                  </a:cubicBezTo>
                  <a:cubicBezTo>
                    <a:pt x="464" y="1030"/>
                    <a:pt x="470" y="1026"/>
                    <a:pt x="476" y="1021"/>
                  </a:cubicBezTo>
                  <a:cubicBezTo>
                    <a:pt x="478" y="1020"/>
                    <a:pt x="480" y="1019"/>
                    <a:pt x="481" y="1018"/>
                  </a:cubicBezTo>
                  <a:cubicBezTo>
                    <a:pt x="482" y="1017"/>
                    <a:pt x="483" y="1017"/>
                    <a:pt x="484" y="1016"/>
                  </a:cubicBezTo>
                  <a:cubicBezTo>
                    <a:pt x="490" y="1012"/>
                    <a:pt x="497" y="1008"/>
                    <a:pt x="503" y="1003"/>
                  </a:cubicBezTo>
                  <a:cubicBezTo>
                    <a:pt x="510" y="999"/>
                    <a:pt x="517" y="996"/>
                    <a:pt x="523" y="992"/>
                  </a:cubicBezTo>
                  <a:cubicBezTo>
                    <a:pt x="546" y="979"/>
                    <a:pt x="570" y="967"/>
                    <a:pt x="593" y="958"/>
                  </a:cubicBezTo>
                  <a:cubicBezTo>
                    <a:pt x="598" y="956"/>
                    <a:pt x="603" y="954"/>
                    <a:pt x="609" y="952"/>
                  </a:cubicBezTo>
                  <a:cubicBezTo>
                    <a:pt x="614" y="950"/>
                    <a:pt x="619" y="948"/>
                    <a:pt x="623" y="946"/>
                  </a:cubicBezTo>
                  <a:cubicBezTo>
                    <a:pt x="633" y="943"/>
                    <a:pt x="643" y="939"/>
                    <a:pt x="651" y="937"/>
                  </a:cubicBezTo>
                  <a:cubicBezTo>
                    <a:pt x="656" y="935"/>
                    <a:pt x="661" y="933"/>
                    <a:pt x="667" y="932"/>
                  </a:cubicBezTo>
                  <a:cubicBezTo>
                    <a:pt x="672" y="930"/>
                    <a:pt x="679" y="928"/>
                    <a:pt x="685" y="927"/>
                  </a:cubicBezTo>
                  <a:cubicBezTo>
                    <a:pt x="695" y="924"/>
                    <a:pt x="706" y="921"/>
                    <a:pt x="719" y="919"/>
                  </a:cubicBezTo>
                  <a:cubicBezTo>
                    <a:pt x="725" y="918"/>
                    <a:pt x="731" y="917"/>
                    <a:pt x="737" y="915"/>
                  </a:cubicBezTo>
                  <a:cubicBezTo>
                    <a:pt x="744" y="914"/>
                    <a:pt x="750" y="913"/>
                    <a:pt x="757" y="912"/>
                  </a:cubicBezTo>
                  <a:cubicBezTo>
                    <a:pt x="786" y="908"/>
                    <a:pt x="816" y="905"/>
                    <a:pt x="847" y="903"/>
                  </a:cubicBezTo>
                  <a:cubicBezTo>
                    <a:pt x="847" y="903"/>
                    <a:pt x="847" y="903"/>
                    <a:pt x="847" y="903"/>
                  </a:cubicBezTo>
                  <a:cubicBezTo>
                    <a:pt x="863" y="902"/>
                    <a:pt x="880" y="901"/>
                    <a:pt x="896" y="900"/>
                  </a:cubicBezTo>
                  <a:cubicBezTo>
                    <a:pt x="922" y="899"/>
                    <a:pt x="948" y="898"/>
                    <a:pt x="971" y="899"/>
                  </a:cubicBezTo>
                  <a:cubicBezTo>
                    <a:pt x="995" y="899"/>
                    <a:pt x="1016" y="901"/>
                    <a:pt x="1033" y="903"/>
                  </a:cubicBezTo>
                  <a:cubicBezTo>
                    <a:pt x="1046" y="904"/>
                    <a:pt x="1055" y="906"/>
                    <a:pt x="1068" y="908"/>
                  </a:cubicBezTo>
                  <a:cubicBezTo>
                    <a:pt x="1090" y="911"/>
                    <a:pt x="1117" y="914"/>
                    <a:pt x="1145" y="918"/>
                  </a:cubicBezTo>
                  <a:cubicBezTo>
                    <a:pt x="1173" y="922"/>
                    <a:pt x="1204" y="926"/>
                    <a:pt x="1235" y="929"/>
                  </a:cubicBezTo>
                  <a:cubicBezTo>
                    <a:pt x="1237" y="930"/>
                    <a:pt x="1239" y="930"/>
                    <a:pt x="1241" y="930"/>
                  </a:cubicBezTo>
                  <a:cubicBezTo>
                    <a:pt x="1242" y="930"/>
                    <a:pt x="1243" y="930"/>
                    <a:pt x="1244" y="931"/>
                  </a:cubicBezTo>
                  <a:cubicBezTo>
                    <a:pt x="1260" y="932"/>
                    <a:pt x="1276" y="934"/>
                    <a:pt x="1291" y="935"/>
                  </a:cubicBezTo>
                  <a:cubicBezTo>
                    <a:pt x="1305" y="936"/>
                    <a:pt x="1319" y="938"/>
                    <a:pt x="1332" y="938"/>
                  </a:cubicBezTo>
                  <a:cubicBezTo>
                    <a:pt x="1345" y="939"/>
                    <a:pt x="1358" y="940"/>
                    <a:pt x="1371" y="940"/>
                  </a:cubicBezTo>
                  <a:cubicBezTo>
                    <a:pt x="1383" y="940"/>
                    <a:pt x="1394" y="940"/>
                    <a:pt x="1404" y="940"/>
                  </a:cubicBezTo>
                  <a:cubicBezTo>
                    <a:pt x="1415" y="939"/>
                    <a:pt x="1426" y="939"/>
                    <a:pt x="1434" y="938"/>
                  </a:cubicBezTo>
                  <a:cubicBezTo>
                    <a:pt x="1439" y="938"/>
                    <a:pt x="1445" y="937"/>
                    <a:pt x="1451" y="936"/>
                  </a:cubicBezTo>
                  <a:cubicBezTo>
                    <a:pt x="1457" y="936"/>
                    <a:pt x="1464" y="935"/>
                    <a:pt x="1470" y="935"/>
                  </a:cubicBezTo>
                  <a:cubicBezTo>
                    <a:pt x="1481" y="933"/>
                    <a:pt x="1493" y="932"/>
                    <a:pt x="1505" y="930"/>
                  </a:cubicBezTo>
                  <a:cubicBezTo>
                    <a:pt x="1511" y="930"/>
                    <a:pt x="1517" y="929"/>
                    <a:pt x="1524" y="928"/>
                  </a:cubicBezTo>
                  <a:cubicBezTo>
                    <a:pt x="1530" y="928"/>
                    <a:pt x="1537" y="927"/>
                    <a:pt x="1544" y="926"/>
                  </a:cubicBezTo>
                  <a:cubicBezTo>
                    <a:pt x="1572" y="924"/>
                    <a:pt x="1603" y="923"/>
                    <a:pt x="1634" y="919"/>
                  </a:cubicBezTo>
                  <a:cubicBezTo>
                    <a:pt x="1634" y="919"/>
                    <a:pt x="1634" y="919"/>
                    <a:pt x="1634" y="919"/>
                  </a:cubicBezTo>
                  <a:cubicBezTo>
                    <a:pt x="1650" y="917"/>
                    <a:pt x="1666" y="913"/>
                    <a:pt x="1682" y="910"/>
                  </a:cubicBezTo>
                  <a:cubicBezTo>
                    <a:pt x="1733" y="895"/>
                    <a:pt x="1779" y="876"/>
                    <a:pt x="1813" y="864"/>
                  </a:cubicBezTo>
                  <a:cubicBezTo>
                    <a:pt x="1824" y="860"/>
                    <a:pt x="1834" y="857"/>
                    <a:pt x="1846" y="852"/>
                  </a:cubicBezTo>
                  <a:cubicBezTo>
                    <a:pt x="1856" y="848"/>
                    <a:pt x="1867" y="843"/>
                    <a:pt x="1879" y="838"/>
                  </a:cubicBezTo>
                  <a:cubicBezTo>
                    <a:pt x="1891" y="833"/>
                    <a:pt x="1904" y="827"/>
                    <a:pt x="1917" y="821"/>
                  </a:cubicBezTo>
                  <a:cubicBezTo>
                    <a:pt x="1931" y="815"/>
                    <a:pt x="1944" y="808"/>
                    <a:pt x="1958" y="802"/>
                  </a:cubicBezTo>
                  <a:cubicBezTo>
                    <a:pt x="1972" y="795"/>
                    <a:pt x="1986" y="788"/>
                    <a:pt x="1999" y="781"/>
                  </a:cubicBezTo>
                  <a:cubicBezTo>
                    <a:pt x="2001" y="780"/>
                    <a:pt x="2003" y="779"/>
                    <a:pt x="2004" y="778"/>
                  </a:cubicBezTo>
                  <a:cubicBezTo>
                    <a:pt x="2005" y="777"/>
                    <a:pt x="2006" y="777"/>
                    <a:pt x="2007" y="776"/>
                  </a:cubicBezTo>
                  <a:cubicBezTo>
                    <a:pt x="2021" y="769"/>
                    <a:pt x="2035" y="761"/>
                    <a:pt x="2049" y="753"/>
                  </a:cubicBezTo>
                  <a:cubicBezTo>
                    <a:pt x="2073" y="740"/>
                    <a:pt x="2096" y="726"/>
                    <a:pt x="2117" y="713"/>
                  </a:cubicBezTo>
                  <a:cubicBezTo>
                    <a:pt x="2127" y="707"/>
                    <a:pt x="2137" y="701"/>
                    <a:pt x="2145" y="695"/>
                  </a:cubicBezTo>
                  <a:cubicBezTo>
                    <a:pt x="2154" y="689"/>
                    <a:pt x="2163" y="683"/>
                    <a:pt x="2170" y="678"/>
                  </a:cubicBezTo>
                  <a:cubicBezTo>
                    <a:pt x="2178" y="673"/>
                    <a:pt x="2189" y="665"/>
                    <a:pt x="2200" y="658"/>
                  </a:cubicBezTo>
                  <a:cubicBezTo>
                    <a:pt x="2217" y="647"/>
                    <a:pt x="2239" y="633"/>
                    <a:pt x="2262" y="619"/>
                  </a:cubicBezTo>
                  <a:cubicBezTo>
                    <a:pt x="2287" y="603"/>
                    <a:pt x="2313" y="587"/>
                    <a:pt x="2340" y="572"/>
                  </a:cubicBezTo>
                  <a:cubicBezTo>
                    <a:pt x="2340" y="572"/>
                    <a:pt x="2340" y="572"/>
                    <a:pt x="2340" y="572"/>
                  </a:cubicBezTo>
                  <a:cubicBezTo>
                    <a:pt x="2354" y="564"/>
                    <a:pt x="2368" y="555"/>
                    <a:pt x="2381" y="547"/>
                  </a:cubicBezTo>
                  <a:cubicBezTo>
                    <a:pt x="2428" y="521"/>
                    <a:pt x="2471" y="497"/>
                    <a:pt x="2503" y="481"/>
                  </a:cubicBezTo>
                  <a:cubicBezTo>
                    <a:pt x="2514" y="476"/>
                    <a:pt x="2523" y="472"/>
                    <a:pt x="2535" y="466"/>
                  </a:cubicBezTo>
                  <a:cubicBezTo>
                    <a:pt x="2573" y="446"/>
                    <a:pt x="2629" y="415"/>
                    <a:pt x="2682" y="384"/>
                  </a:cubicBezTo>
                  <a:cubicBezTo>
                    <a:pt x="2683" y="383"/>
                    <a:pt x="2685" y="382"/>
                    <a:pt x="2687" y="381"/>
                  </a:cubicBezTo>
                  <a:cubicBezTo>
                    <a:pt x="2688" y="380"/>
                    <a:pt x="2689" y="380"/>
                    <a:pt x="2690" y="379"/>
                  </a:cubicBezTo>
                  <a:cubicBezTo>
                    <a:pt x="2703" y="371"/>
                    <a:pt x="2717" y="363"/>
                    <a:pt x="2730" y="355"/>
                  </a:cubicBezTo>
                  <a:cubicBezTo>
                    <a:pt x="2754" y="341"/>
                    <a:pt x="2777" y="327"/>
                    <a:pt x="2798" y="314"/>
                  </a:cubicBezTo>
                  <a:cubicBezTo>
                    <a:pt x="2808" y="308"/>
                    <a:pt x="2818" y="302"/>
                    <a:pt x="2826" y="296"/>
                  </a:cubicBezTo>
                  <a:cubicBezTo>
                    <a:pt x="2835" y="291"/>
                    <a:pt x="2844" y="284"/>
                    <a:pt x="2851" y="280"/>
                  </a:cubicBezTo>
                  <a:cubicBezTo>
                    <a:pt x="2859" y="274"/>
                    <a:pt x="2870" y="267"/>
                    <a:pt x="2881" y="260"/>
                  </a:cubicBezTo>
                  <a:cubicBezTo>
                    <a:pt x="2899" y="249"/>
                    <a:pt x="2921" y="235"/>
                    <a:pt x="2944" y="222"/>
                  </a:cubicBezTo>
                  <a:cubicBezTo>
                    <a:pt x="2957" y="215"/>
                    <a:pt x="2970" y="208"/>
                    <a:pt x="2983" y="200"/>
                  </a:cubicBezTo>
                  <a:cubicBezTo>
                    <a:pt x="2996" y="193"/>
                    <a:pt x="3010" y="185"/>
                    <a:pt x="3024" y="178"/>
                  </a:cubicBezTo>
                  <a:cubicBezTo>
                    <a:pt x="3024" y="178"/>
                    <a:pt x="3024" y="178"/>
                    <a:pt x="3024" y="178"/>
                  </a:cubicBezTo>
                  <a:cubicBezTo>
                    <a:pt x="3038" y="171"/>
                    <a:pt x="3053" y="164"/>
                    <a:pt x="3067" y="156"/>
                  </a:cubicBezTo>
                  <a:cubicBezTo>
                    <a:pt x="3114" y="133"/>
                    <a:pt x="3160" y="113"/>
                    <a:pt x="3194" y="102"/>
                  </a:cubicBezTo>
                  <a:cubicBezTo>
                    <a:pt x="3205" y="98"/>
                    <a:pt x="3214" y="95"/>
                    <a:pt x="3227" y="91"/>
                  </a:cubicBezTo>
                  <a:cubicBezTo>
                    <a:pt x="3268" y="78"/>
                    <a:pt x="3328" y="57"/>
                    <a:pt x="3386" y="41"/>
                  </a:cubicBezTo>
                  <a:cubicBezTo>
                    <a:pt x="3388" y="41"/>
                    <a:pt x="3390" y="40"/>
                    <a:pt x="3392" y="40"/>
                  </a:cubicBezTo>
                  <a:cubicBezTo>
                    <a:pt x="3393" y="40"/>
                    <a:pt x="3394" y="39"/>
                    <a:pt x="3395" y="39"/>
                  </a:cubicBezTo>
                  <a:cubicBezTo>
                    <a:pt x="3403" y="37"/>
                    <a:pt x="3410" y="36"/>
                    <a:pt x="3418" y="34"/>
                  </a:cubicBezTo>
                  <a:cubicBezTo>
                    <a:pt x="3425" y="32"/>
                    <a:pt x="3433" y="30"/>
                    <a:pt x="3440" y="29"/>
                  </a:cubicBezTo>
                  <a:cubicBezTo>
                    <a:pt x="3447" y="28"/>
                    <a:pt x="3453" y="27"/>
                    <a:pt x="3460" y="26"/>
                  </a:cubicBezTo>
                  <a:cubicBezTo>
                    <a:pt x="3465" y="25"/>
                    <a:pt x="3465" y="25"/>
                    <a:pt x="3465" y="25"/>
                  </a:cubicBezTo>
                  <a:cubicBezTo>
                    <a:pt x="3470" y="25"/>
                    <a:pt x="3470" y="25"/>
                    <a:pt x="3470" y="25"/>
                  </a:cubicBezTo>
                  <a:cubicBezTo>
                    <a:pt x="3473" y="25"/>
                    <a:pt x="3476" y="24"/>
                    <a:pt x="3479" y="24"/>
                  </a:cubicBezTo>
                  <a:cubicBezTo>
                    <a:pt x="3492" y="22"/>
                    <a:pt x="3505" y="23"/>
                    <a:pt x="3516" y="23"/>
                  </a:cubicBezTo>
                  <a:cubicBezTo>
                    <a:pt x="3522" y="22"/>
                    <a:pt x="3528" y="23"/>
                    <a:pt x="3533" y="23"/>
                  </a:cubicBezTo>
                  <a:cubicBezTo>
                    <a:pt x="3538" y="24"/>
                    <a:pt x="3544" y="24"/>
                    <a:pt x="3549" y="25"/>
                  </a:cubicBezTo>
                  <a:cubicBezTo>
                    <a:pt x="3554" y="25"/>
                    <a:pt x="3559" y="26"/>
                    <a:pt x="3564" y="27"/>
                  </a:cubicBezTo>
                  <a:cubicBezTo>
                    <a:pt x="3569" y="27"/>
                    <a:pt x="3573" y="29"/>
                    <a:pt x="3577" y="29"/>
                  </a:cubicBezTo>
                  <a:cubicBezTo>
                    <a:pt x="3582" y="30"/>
                    <a:pt x="3587" y="31"/>
                    <a:pt x="3593" y="32"/>
                  </a:cubicBezTo>
                  <a:cubicBezTo>
                    <a:pt x="3599" y="34"/>
                    <a:pt x="3605" y="36"/>
                    <a:pt x="3611" y="38"/>
                  </a:cubicBezTo>
                  <a:cubicBezTo>
                    <a:pt x="3616" y="39"/>
                    <a:pt x="3621" y="41"/>
                    <a:pt x="3627" y="43"/>
                  </a:cubicBezTo>
                  <a:cubicBezTo>
                    <a:pt x="3632" y="45"/>
                    <a:pt x="3638" y="47"/>
                    <a:pt x="3644" y="49"/>
                  </a:cubicBezTo>
                  <a:cubicBezTo>
                    <a:pt x="3655" y="54"/>
                    <a:pt x="3668" y="59"/>
                    <a:pt x="3680" y="64"/>
                  </a:cubicBezTo>
                  <a:cubicBezTo>
                    <a:pt x="3693" y="70"/>
                    <a:pt x="3707" y="76"/>
                    <a:pt x="3721" y="82"/>
                  </a:cubicBezTo>
                  <a:cubicBezTo>
                    <a:pt x="3728" y="85"/>
                    <a:pt x="3735" y="88"/>
                    <a:pt x="3742" y="92"/>
                  </a:cubicBezTo>
                  <a:cubicBezTo>
                    <a:pt x="3748" y="95"/>
                    <a:pt x="3755" y="99"/>
                    <a:pt x="3762" y="103"/>
                  </a:cubicBezTo>
                  <a:cubicBezTo>
                    <a:pt x="3762" y="103"/>
                    <a:pt x="3762" y="103"/>
                    <a:pt x="3762" y="103"/>
                  </a:cubicBezTo>
                  <a:cubicBezTo>
                    <a:pt x="3776" y="111"/>
                    <a:pt x="3789" y="120"/>
                    <a:pt x="3802" y="129"/>
                  </a:cubicBezTo>
                  <a:cubicBezTo>
                    <a:pt x="3845" y="161"/>
                    <a:pt x="3881" y="195"/>
                    <a:pt x="3905" y="221"/>
                  </a:cubicBezTo>
                  <a:cubicBezTo>
                    <a:pt x="3914" y="230"/>
                    <a:pt x="3920" y="237"/>
                    <a:pt x="3929" y="247"/>
                  </a:cubicBezTo>
                  <a:cubicBezTo>
                    <a:pt x="3957" y="279"/>
                    <a:pt x="4001" y="326"/>
                    <a:pt x="4041" y="371"/>
                  </a:cubicBezTo>
                  <a:cubicBezTo>
                    <a:pt x="4045" y="376"/>
                    <a:pt x="4045" y="376"/>
                    <a:pt x="4045" y="376"/>
                  </a:cubicBezTo>
                  <a:cubicBezTo>
                    <a:pt x="4046" y="377"/>
                    <a:pt x="4046" y="378"/>
                    <a:pt x="4047" y="379"/>
                  </a:cubicBezTo>
                  <a:cubicBezTo>
                    <a:pt x="4058" y="390"/>
                    <a:pt x="4068" y="402"/>
                    <a:pt x="4078" y="413"/>
                  </a:cubicBezTo>
                  <a:cubicBezTo>
                    <a:pt x="4097" y="434"/>
                    <a:pt x="4115" y="454"/>
                    <a:pt x="4132" y="472"/>
                  </a:cubicBezTo>
                  <a:cubicBezTo>
                    <a:pt x="4140" y="481"/>
                    <a:pt x="4147" y="489"/>
                    <a:pt x="4154" y="496"/>
                  </a:cubicBezTo>
                  <a:cubicBezTo>
                    <a:pt x="4162" y="504"/>
                    <a:pt x="4170" y="512"/>
                    <a:pt x="4175" y="518"/>
                  </a:cubicBezTo>
                  <a:cubicBezTo>
                    <a:pt x="4182" y="524"/>
                    <a:pt x="4192" y="534"/>
                    <a:pt x="4201" y="543"/>
                  </a:cubicBezTo>
                  <a:cubicBezTo>
                    <a:pt x="4215" y="558"/>
                    <a:pt x="4233" y="577"/>
                    <a:pt x="4250" y="598"/>
                  </a:cubicBezTo>
                  <a:cubicBezTo>
                    <a:pt x="4269" y="620"/>
                    <a:pt x="4288" y="644"/>
                    <a:pt x="4306" y="669"/>
                  </a:cubicBezTo>
                  <a:cubicBezTo>
                    <a:pt x="4306" y="669"/>
                    <a:pt x="4306" y="669"/>
                    <a:pt x="4306" y="669"/>
                  </a:cubicBezTo>
                  <a:cubicBezTo>
                    <a:pt x="4315" y="682"/>
                    <a:pt x="4324" y="696"/>
                    <a:pt x="4333" y="709"/>
                  </a:cubicBezTo>
                  <a:cubicBezTo>
                    <a:pt x="4347" y="732"/>
                    <a:pt x="4359" y="755"/>
                    <a:pt x="4369" y="776"/>
                  </a:cubicBezTo>
                  <a:cubicBezTo>
                    <a:pt x="4380" y="797"/>
                    <a:pt x="4387" y="816"/>
                    <a:pt x="4393" y="833"/>
                  </a:cubicBezTo>
                  <a:cubicBezTo>
                    <a:pt x="4395" y="839"/>
                    <a:pt x="4396" y="844"/>
                    <a:pt x="4398" y="849"/>
                  </a:cubicBezTo>
                  <a:cubicBezTo>
                    <a:pt x="4400" y="855"/>
                    <a:pt x="4401" y="860"/>
                    <a:pt x="4403" y="867"/>
                  </a:cubicBezTo>
                  <a:cubicBezTo>
                    <a:pt x="4409" y="887"/>
                    <a:pt x="4416" y="913"/>
                    <a:pt x="4422" y="940"/>
                  </a:cubicBezTo>
                  <a:cubicBezTo>
                    <a:pt x="4428" y="968"/>
                    <a:pt x="4433" y="998"/>
                    <a:pt x="4434" y="1028"/>
                  </a:cubicBezTo>
                  <a:cubicBezTo>
                    <a:pt x="4434" y="1029"/>
                    <a:pt x="4434" y="1031"/>
                    <a:pt x="4434" y="1033"/>
                  </a:cubicBezTo>
                  <a:cubicBezTo>
                    <a:pt x="4434" y="1034"/>
                    <a:pt x="4434" y="1036"/>
                    <a:pt x="4434" y="1037"/>
                  </a:cubicBezTo>
                  <a:cubicBezTo>
                    <a:pt x="4434" y="1042"/>
                    <a:pt x="4434" y="1042"/>
                    <a:pt x="4434" y="1042"/>
                  </a:cubicBezTo>
                  <a:cubicBezTo>
                    <a:pt x="4434" y="1048"/>
                    <a:pt x="4434" y="1048"/>
                    <a:pt x="4434" y="1048"/>
                  </a:cubicBezTo>
                  <a:cubicBezTo>
                    <a:pt x="4433" y="1059"/>
                    <a:pt x="4433" y="1059"/>
                    <a:pt x="4433" y="1059"/>
                  </a:cubicBezTo>
                  <a:cubicBezTo>
                    <a:pt x="4433" y="1063"/>
                    <a:pt x="4433" y="1067"/>
                    <a:pt x="4432" y="1071"/>
                  </a:cubicBezTo>
                  <a:cubicBezTo>
                    <a:pt x="4432" y="1074"/>
                    <a:pt x="4432" y="1078"/>
                    <a:pt x="4431" y="1082"/>
                  </a:cubicBezTo>
                  <a:cubicBezTo>
                    <a:pt x="4428" y="1108"/>
                    <a:pt x="4421" y="1134"/>
                    <a:pt x="4414" y="1156"/>
                  </a:cubicBezTo>
                  <a:cubicBezTo>
                    <a:pt x="4410" y="1167"/>
                    <a:pt x="4406" y="1177"/>
                    <a:pt x="4402" y="1186"/>
                  </a:cubicBezTo>
                  <a:cubicBezTo>
                    <a:pt x="4398" y="1196"/>
                    <a:pt x="4393" y="1206"/>
                    <a:pt x="4390" y="1213"/>
                  </a:cubicBezTo>
                  <a:cubicBezTo>
                    <a:pt x="4386" y="1222"/>
                    <a:pt x="4380" y="1233"/>
                    <a:pt x="4373" y="1244"/>
                  </a:cubicBezTo>
                  <a:cubicBezTo>
                    <a:pt x="4362" y="1262"/>
                    <a:pt x="4347" y="1283"/>
                    <a:pt x="4331" y="1304"/>
                  </a:cubicBezTo>
                  <a:cubicBezTo>
                    <a:pt x="4313" y="1327"/>
                    <a:pt x="4292" y="1349"/>
                    <a:pt x="4270" y="1371"/>
                  </a:cubicBezTo>
                  <a:cubicBezTo>
                    <a:pt x="4270" y="1371"/>
                    <a:pt x="4270" y="1371"/>
                    <a:pt x="4270" y="1371"/>
                  </a:cubicBezTo>
                  <a:cubicBezTo>
                    <a:pt x="4264" y="1377"/>
                    <a:pt x="4258" y="1382"/>
                    <a:pt x="4252" y="1388"/>
                  </a:cubicBezTo>
                  <a:cubicBezTo>
                    <a:pt x="4246" y="1394"/>
                    <a:pt x="4240" y="1399"/>
                    <a:pt x="4234" y="1404"/>
                  </a:cubicBezTo>
                  <a:cubicBezTo>
                    <a:pt x="4195" y="1440"/>
                    <a:pt x="4155" y="1470"/>
                    <a:pt x="4126" y="1490"/>
                  </a:cubicBezTo>
                  <a:cubicBezTo>
                    <a:pt x="4116" y="1497"/>
                    <a:pt x="4108" y="1502"/>
                    <a:pt x="4097" y="1509"/>
                  </a:cubicBezTo>
                  <a:cubicBezTo>
                    <a:pt x="4061" y="1533"/>
                    <a:pt x="4008" y="1570"/>
                    <a:pt x="3958" y="1602"/>
                  </a:cubicBezTo>
                  <a:cubicBezTo>
                    <a:pt x="3956" y="1603"/>
                    <a:pt x="3954" y="1604"/>
                    <a:pt x="3953" y="1605"/>
                  </a:cubicBezTo>
                  <a:cubicBezTo>
                    <a:pt x="3952" y="1606"/>
                    <a:pt x="3951" y="1606"/>
                    <a:pt x="3950" y="1607"/>
                  </a:cubicBezTo>
                  <a:cubicBezTo>
                    <a:pt x="3937" y="1615"/>
                    <a:pt x="3923" y="1624"/>
                    <a:pt x="3910" y="1632"/>
                  </a:cubicBezTo>
                  <a:cubicBezTo>
                    <a:pt x="3886" y="1646"/>
                    <a:pt x="3863" y="1660"/>
                    <a:pt x="3842" y="1671"/>
                  </a:cubicBezTo>
                  <a:cubicBezTo>
                    <a:pt x="3837" y="1674"/>
                    <a:pt x="3832" y="1677"/>
                    <a:pt x="3827" y="1680"/>
                  </a:cubicBezTo>
                  <a:cubicBezTo>
                    <a:pt x="3822" y="1682"/>
                    <a:pt x="3818" y="1685"/>
                    <a:pt x="3813" y="1687"/>
                  </a:cubicBezTo>
                  <a:cubicBezTo>
                    <a:pt x="3809" y="1690"/>
                    <a:pt x="3804" y="1692"/>
                    <a:pt x="3800" y="1695"/>
                  </a:cubicBezTo>
                  <a:cubicBezTo>
                    <a:pt x="3795" y="1697"/>
                    <a:pt x="3791" y="1700"/>
                    <a:pt x="3787" y="1702"/>
                  </a:cubicBezTo>
                  <a:cubicBezTo>
                    <a:pt x="3783" y="1704"/>
                    <a:pt x="3778" y="1707"/>
                    <a:pt x="3773" y="1709"/>
                  </a:cubicBezTo>
                  <a:cubicBezTo>
                    <a:pt x="3767" y="1712"/>
                    <a:pt x="3761" y="1715"/>
                    <a:pt x="3756" y="1717"/>
                  </a:cubicBezTo>
                  <a:cubicBezTo>
                    <a:pt x="3737" y="1726"/>
                    <a:pt x="3712" y="1736"/>
                    <a:pt x="3687" y="1744"/>
                  </a:cubicBezTo>
                  <a:cubicBezTo>
                    <a:pt x="3660" y="1754"/>
                    <a:pt x="3630" y="1762"/>
                    <a:pt x="3600" y="1768"/>
                  </a:cubicBezTo>
                  <a:cubicBezTo>
                    <a:pt x="3600" y="1768"/>
                    <a:pt x="3600" y="1768"/>
                    <a:pt x="3600" y="1768"/>
                  </a:cubicBezTo>
                  <a:cubicBezTo>
                    <a:pt x="3584" y="1771"/>
                    <a:pt x="3568" y="1774"/>
                    <a:pt x="3552" y="1776"/>
                  </a:cubicBezTo>
                  <a:cubicBezTo>
                    <a:pt x="3499" y="1782"/>
                    <a:pt x="3449" y="1781"/>
                    <a:pt x="3414" y="1777"/>
                  </a:cubicBezTo>
                  <a:cubicBezTo>
                    <a:pt x="3408" y="1776"/>
                    <a:pt x="3403" y="1776"/>
                    <a:pt x="3397" y="1775"/>
                  </a:cubicBezTo>
                  <a:cubicBezTo>
                    <a:pt x="3392" y="1774"/>
                    <a:pt x="3386" y="1774"/>
                    <a:pt x="3379" y="1773"/>
                  </a:cubicBezTo>
                  <a:cubicBezTo>
                    <a:pt x="3369" y="1771"/>
                    <a:pt x="3357" y="1770"/>
                    <a:pt x="3344" y="1769"/>
                  </a:cubicBezTo>
                  <a:cubicBezTo>
                    <a:pt x="3337" y="1768"/>
                    <a:pt x="3331" y="1767"/>
                    <a:pt x="3324" y="1766"/>
                  </a:cubicBezTo>
                  <a:cubicBezTo>
                    <a:pt x="3317" y="1765"/>
                    <a:pt x="3310" y="1764"/>
                    <a:pt x="3303" y="1763"/>
                  </a:cubicBezTo>
                  <a:cubicBezTo>
                    <a:pt x="3296" y="1762"/>
                    <a:pt x="3289" y="1760"/>
                    <a:pt x="3282" y="1759"/>
                  </a:cubicBezTo>
                  <a:cubicBezTo>
                    <a:pt x="3275" y="1758"/>
                    <a:pt x="3267" y="1757"/>
                    <a:pt x="3260" y="1755"/>
                  </a:cubicBezTo>
                  <a:cubicBezTo>
                    <a:pt x="3245" y="1752"/>
                    <a:pt x="3230" y="1749"/>
                    <a:pt x="3215" y="1746"/>
                  </a:cubicBezTo>
                  <a:cubicBezTo>
                    <a:pt x="3213" y="1746"/>
                    <a:pt x="3211" y="1745"/>
                    <a:pt x="3209" y="1745"/>
                  </a:cubicBezTo>
                  <a:cubicBezTo>
                    <a:pt x="3208" y="1745"/>
                    <a:pt x="3207" y="1744"/>
                    <a:pt x="3206" y="1744"/>
                  </a:cubicBezTo>
                  <a:cubicBezTo>
                    <a:pt x="3191" y="1741"/>
                    <a:pt x="3175" y="1737"/>
                    <a:pt x="3160" y="1734"/>
                  </a:cubicBezTo>
                  <a:cubicBezTo>
                    <a:pt x="3134" y="1728"/>
                    <a:pt x="3107" y="1722"/>
                    <a:pt x="3083" y="1717"/>
                  </a:cubicBezTo>
                  <a:cubicBezTo>
                    <a:pt x="3072" y="1714"/>
                    <a:pt x="3061" y="1712"/>
                    <a:pt x="3051" y="1710"/>
                  </a:cubicBezTo>
                  <a:cubicBezTo>
                    <a:pt x="3040" y="1708"/>
                    <a:pt x="3029" y="1706"/>
                    <a:pt x="3021" y="1704"/>
                  </a:cubicBezTo>
                  <a:cubicBezTo>
                    <a:pt x="3012" y="1703"/>
                    <a:pt x="2999" y="1700"/>
                    <a:pt x="2986" y="1697"/>
                  </a:cubicBezTo>
                  <a:cubicBezTo>
                    <a:pt x="2966" y="1693"/>
                    <a:pt x="2940" y="1687"/>
                    <a:pt x="2914" y="1681"/>
                  </a:cubicBezTo>
                  <a:cubicBezTo>
                    <a:pt x="2886" y="1674"/>
                    <a:pt x="2856" y="1667"/>
                    <a:pt x="2826" y="1659"/>
                  </a:cubicBezTo>
                  <a:cubicBezTo>
                    <a:pt x="2826" y="1659"/>
                    <a:pt x="2826" y="1659"/>
                    <a:pt x="2826" y="1659"/>
                  </a:cubicBezTo>
                  <a:cubicBezTo>
                    <a:pt x="2810" y="1655"/>
                    <a:pt x="2794" y="1652"/>
                    <a:pt x="2779" y="1648"/>
                  </a:cubicBezTo>
                  <a:cubicBezTo>
                    <a:pt x="2766" y="1645"/>
                    <a:pt x="2753" y="1642"/>
                    <a:pt x="2741" y="1640"/>
                  </a:cubicBezTo>
                  <a:cubicBezTo>
                    <a:pt x="2728" y="1637"/>
                    <a:pt x="2716" y="1635"/>
                    <a:pt x="2705" y="1633"/>
                  </a:cubicBezTo>
                  <a:cubicBezTo>
                    <a:pt x="2682" y="1629"/>
                    <a:pt x="2661" y="1625"/>
                    <a:pt x="2643" y="1622"/>
                  </a:cubicBezTo>
                  <a:cubicBezTo>
                    <a:pt x="2631" y="1620"/>
                    <a:pt x="2621" y="1618"/>
                    <a:pt x="2608" y="1616"/>
                  </a:cubicBezTo>
                  <a:cubicBezTo>
                    <a:pt x="2586" y="1613"/>
                    <a:pt x="2559" y="1611"/>
                    <a:pt x="2529" y="1613"/>
                  </a:cubicBezTo>
                  <a:cubicBezTo>
                    <a:pt x="2514" y="1614"/>
                    <a:pt x="2498" y="1616"/>
                    <a:pt x="2483" y="1619"/>
                  </a:cubicBezTo>
                  <a:cubicBezTo>
                    <a:pt x="2468" y="1622"/>
                    <a:pt x="2452" y="1625"/>
                    <a:pt x="2438" y="1629"/>
                  </a:cubicBezTo>
                  <a:cubicBezTo>
                    <a:pt x="2436" y="1629"/>
                    <a:pt x="2434" y="1630"/>
                    <a:pt x="2432" y="1630"/>
                  </a:cubicBezTo>
                  <a:cubicBezTo>
                    <a:pt x="2431" y="1630"/>
                    <a:pt x="2429" y="1631"/>
                    <a:pt x="2428" y="1631"/>
                  </a:cubicBezTo>
                  <a:cubicBezTo>
                    <a:pt x="2413" y="1635"/>
                    <a:pt x="2398" y="1639"/>
                    <a:pt x="2383" y="1643"/>
                  </a:cubicBezTo>
                  <a:cubicBezTo>
                    <a:pt x="2356" y="1650"/>
                    <a:pt x="2329" y="1658"/>
                    <a:pt x="2306" y="1668"/>
                  </a:cubicBezTo>
                  <a:cubicBezTo>
                    <a:pt x="2301" y="1671"/>
                    <a:pt x="2295" y="1673"/>
                    <a:pt x="2290" y="1676"/>
                  </a:cubicBezTo>
                  <a:cubicBezTo>
                    <a:pt x="2285" y="1678"/>
                    <a:pt x="2280" y="1681"/>
                    <a:pt x="2275" y="1683"/>
                  </a:cubicBezTo>
                  <a:cubicBezTo>
                    <a:pt x="2271" y="1686"/>
                    <a:pt x="2266" y="1689"/>
                    <a:pt x="2262" y="1691"/>
                  </a:cubicBezTo>
                  <a:cubicBezTo>
                    <a:pt x="2257" y="1694"/>
                    <a:pt x="2253" y="1696"/>
                    <a:pt x="2250" y="1699"/>
                  </a:cubicBezTo>
                  <a:cubicBezTo>
                    <a:pt x="2241" y="1704"/>
                    <a:pt x="2230" y="1711"/>
                    <a:pt x="2220" y="1719"/>
                  </a:cubicBezTo>
                  <a:cubicBezTo>
                    <a:pt x="2202" y="1731"/>
                    <a:pt x="2181" y="1746"/>
                    <a:pt x="2160" y="1762"/>
                  </a:cubicBezTo>
                  <a:cubicBezTo>
                    <a:pt x="2154" y="1767"/>
                    <a:pt x="2148" y="1771"/>
                    <a:pt x="2142" y="1776"/>
                  </a:cubicBezTo>
                  <a:cubicBezTo>
                    <a:pt x="2139" y="1778"/>
                    <a:pt x="2136" y="1780"/>
                    <a:pt x="2133" y="1782"/>
                  </a:cubicBezTo>
                  <a:cubicBezTo>
                    <a:pt x="2130" y="1785"/>
                    <a:pt x="2127" y="1787"/>
                    <a:pt x="2124" y="1789"/>
                  </a:cubicBezTo>
                  <a:cubicBezTo>
                    <a:pt x="2118" y="1794"/>
                    <a:pt x="2112" y="1799"/>
                    <a:pt x="2106" y="1804"/>
                  </a:cubicBezTo>
                  <a:cubicBezTo>
                    <a:pt x="2100" y="1809"/>
                    <a:pt x="2094" y="1814"/>
                    <a:pt x="2088" y="1819"/>
                  </a:cubicBezTo>
                  <a:cubicBezTo>
                    <a:pt x="2088" y="1819"/>
                    <a:pt x="2088" y="1819"/>
                    <a:pt x="2088" y="1819"/>
                  </a:cubicBezTo>
                  <a:cubicBezTo>
                    <a:pt x="2076" y="1829"/>
                    <a:pt x="2063" y="1839"/>
                    <a:pt x="2051" y="1850"/>
                  </a:cubicBezTo>
                  <a:cubicBezTo>
                    <a:pt x="2010" y="1884"/>
                    <a:pt x="1972" y="1916"/>
                    <a:pt x="1945" y="1938"/>
                  </a:cubicBezTo>
                  <a:cubicBezTo>
                    <a:pt x="1935" y="1945"/>
                    <a:pt x="1927" y="1951"/>
                    <a:pt x="1917" y="1960"/>
                  </a:cubicBezTo>
                  <a:cubicBezTo>
                    <a:pt x="1883" y="1987"/>
                    <a:pt x="1835" y="2030"/>
                    <a:pt x="1791" y="2071"/>
                  </a:cubicBezTo>
                  <a:cubicBezTo>
                    <a:pt x="1789" y="2072"/>
                    <a:pt x="1788" y="2074"/>
                    <a:pt x="1786" y="2075"/>
                  </a:cubicBezTo>
                  <a:cubicBezTo>
                    <a:pt x="1785" y="2076"/>
                    <a:pt x="1784" y="2077"/>
                    <a:pt x="1784" y="2078"/>
                  </a:cubicBezTo>
                  <a:cubicBezTo>
                    <a:pt x="1772" y="2088"/>
                    <a:pt x="1761" y="2099"/>
                    <a:pt x="1749" y="2110"/>
                  </a:cubicBezTo>
                  <a:cubicBezTo>
                    <a:pt x="1729" y="2129"/>
                    <a:pt x="1710" y="2148"/>
                    <a:pt x="1693" y="2165"/>
                  </a:cubicBezTo>
                  <a:cubicBezTo>
                    <a:pt x="1684" y="2173"/>
                    <a:pt x="1676" y="2181"/>
                    <a:pt x="1669" y="2189"/>
                  </a:cubicBezTo>
                  <a:cubicBezTo>
                    <a:pt x="1662" y="2196"/>
                    <a:pt x="1654" y="2204"/>
                    <a:pt x="1648" y="2210"/>
                  </a:cubicBezTo>
                  <a:cubicBezTo>
                    <a:pt x="1642" y="2217"/>
                    <a:pt x="1633" y="2226"/>
                    <a:pt x="1624" y="2235"/>
                  </a:cubicBezTo>
                  <a:cubicBezTo>
                    <a:pt x="1609" y="2250"/>
                    <a:pt x="1589" y="2268"/>
                    <a:pt x="1569" y="2285"/>
                  </a:cubicBezTo>
                  <a:cubicBezTo>
                    <a:pt x="1548" y="2305"/>
                    <a:pt x="1524" y="2325"/>
                    <a:pt x="1500" y="2345"/>
                  </a:cubicBezTo>
                  <a:cubicBezTo>
                    <a:pt x="1500" y="2345"/>
                    <a:pt x="1500" y="2345"/>
                    <a:pt x="1500" y="2345"/>
                  </a:cubicBezTo>
                  <a:cubicBezTo>
                    <a:pt x="1488" y="2355"/>
                    <a:pt x="1475" y="2365"/>
                    <a:pt x="1462" y="2374"/>
                  </a:cubicBezTo>
                  <a:cubicBezTo>
                    <a:pt x="1441" y="2391"/>
                    <a:pt x="1420" y="2405"/>
                    <a:pt x="1400" y="2417"/>
                  </a:cubicBezTo>
                  <a:cubicBezTo>
                    <a:pt x="1380" y="2429"/>
                    <a:pt x="1361" y="2438"/>
                    <a:pt x="1345" y="2445"/>
                  </a:cubicBezTo>
                  <a:cubicBezTo>
                    <a:pt x="1333" y="2450"/>
                    <a:pt x="1324" y="2454"/>
                    <a:pt x="1312" y="2459"/>
                  </a:cubicBezTo>
                  <a:cubicBezTo>
                    <a:pt x="1292" y="2467"/>
                    <a:pt x="1268" y="2478"/>
                    <a:pt x="1241" y="2488"/>
                  </a:cubicBezTo>
                  <a:cubicBezTo>
                    <a:pt x="1228" y="2493"/>
                    <a:pt x="1214" y="2498"/>
                    <a:pt x="1200" y="2501"/>
                  </a:cubicBezTo>
                  <a:cubicBezTo>
                    <a:pt x="1186" y="2505"/>
                    <a:pt x="1171" y="2508"/>
                    <a:pt x="1157" y="2510"/>
                  </a:cubicBezTo>
                  <a:cubicBezTo>
                    <a:pt x="1155" y="2510"/>
                    <a:pt x="1153" y="2510"/>
                    <a:pt x="1151" y="2510"/>
                  </a:cubicBezTo>
                  <a:cubicBezTo>
                    <a:pt x="1150" y="2510"/>
                    <a:pt x="1149" y="2510"/>
                    <a:pt x="1148" y="2510"/>
                  </a:cubicBezTo>
                  <a:cubicBezTo>
                    <a:pt x="1140" y="2511"/>
                    <a:pt x="1132" y="2511"/>
                    <a:pt x="1125" y="2512"/>
                  </a:cubicBezTo>
                  <a:cubicBezTo>
                    <a:pt x="1121" y="2512"/>
                    <a:pt x="1117" y="2512"/>
                    <a:pt x="1114" y="2512"/>
                  </a:cubicBezTo>
                  <a:cubicBezTo>
                    <a:pt x="1110" y="2512"/>
                    <a:pt x="1106" y="2512"/>
                    <a:pt x="1102" y="2512"/>
                  </a:cubicBezTo>
                  <a:cubicBezTo>
                    <a:pt x="1075" y="2511"/>
                    <a:pt x="1049" y="2508"/>
                    <a:pt x="1025" y="2505"/>
                  </a:cubicBezTo>
                  <a:cubicBezTo>
                    <a:pt x="1019" y="2504"/>
                    <a:pt x="1013" y="2503"/>
                    <a:pt x="1008" y="2503"/>
                  </a:cubicBezTo>
                  <a:cubicBezTo>
                    <a:pt x="1003" y="2502"/>
                    <a:pt x="997" y="2501"/>
                    <a:pt x="992" y="2500"/>
                  </a:cubicBezTo>
                  <a:cubicBezTo>
                    <a:pt x="982" y="2498"/>
                    <a:pt x="972" y="2497"/>
                    <a:pt x="963" y="2495"/>
                  </a:cubicBezTo>
                  <a:cubicBezTo>
                    <a:pt x="954" y="2494"/>
                    <a:pt x="941" y="2491"/>
                    <a:pt x="929" y="2488"/>
                  </a:cubicBezTo>
                  <a:cubicBezTo>
                    <a:pt x="908" y="2483"/>
                    <a:pt x="883" y="2476"/>
                    <a:pt x="858" y="2467"/>
                  </a:cubicBezTo>
                  <a:cubicBezTo>
                    <a:pt x="831" y="2458"/>
                    <a:pt x="802" y="2447"/>
                    <a:pt x="773" y="2434"/>
                  </a:cubicBezTo>
                  <a:cubicBezTo>
                    <a:pt x="773" y="2434"/>
                    <a:pt x="773" y="2434"/>
                    <a:pt x="773" y="2434"/>
                  </a:cubicBezTo>
                  <a:cubicBezTo>
                    <a:pt x="759" y="2428"/>
                    <a:pt x="744" y="2421"/>
                    <a:pt x="729" y="2414"/>
                  </a:cubicBezTo>
                  <a:cubicBezTo>
                    <a:pt x="681" y="2391"/>
                    <a:pt x="637" y="2368"/>
                    <a:pt x="607" y="2350"/>
                  </a:cubicBezTo>
                  <a:cubicBezTo>
                    <a:pt x="597" y="2344"/>
                    <a:pt x="588" y="2339"/>
                    <a:pt x="577" y="2332"/>
                  </a:cubicBezTo>
                  <a:cubicBezTo>
                    <a:pt x="540" y="2310"/>
                    <a:pt x="483" y="2279"/>
                    <a:pt x="431" y="2250"/>
                  </a:cubicBezTo>
                  <a:cubicBezTo>
                    <a:pt x="429" y="2249"/>
                    <a:pt x="427" y="2248"/>
                    <a:pt x="425" y="2247"/>
                  </a:cubicBezTo>
                  <a:cubicBezTo>
                    <a:pt x="424" y="2246"/>
                    <a:pt x="423" y="2246"/>
                    <a:pt x="422" y="2245"/>
                  </a:cubicBezTo>
                  <a:cubicBezTo>
                    <a:pt x="409" y="2238"/>
                    <a:pt x="395" y="2229"/>
                    <a:pt x="382" y="2222"/>
                  </a:cubicBezTo>
                  <a:cubicBezTo>
                    <a:pt x="370" y="2215"/>
                    <a:pt x="358" y="2208"/>
                    <a:pt x="346" y="2202"/>
                  </a:cubicBezTo>
                  <a:cubicBezTo>
                    <a:pt x="335" y="2195"/>
                    <a:pt x="324" y="2188"/>
                    <a:pt x="314" y="2182"/>
                  </a:cubicBezTo>
                  <a:cubicBezTo>
                    <a:pt x="303" y="2176"/>
                    <a:pt x="294" y="2170"/>
                    <a:pt x="285" y="2165"/>
                  </a:cubicBezTo>
                  <a:cubicBezTo>
                    <a:pt x="276" y="2160"/>
                    <a:pt x="267" y="2154"/>
                    <a:pt x="260" y="2150"/>
                  </a:cubicBezTo>
                  <a:cubicBezTo>
                    <a:pt x="256" y="2147"/>
                    <a:pt x="251" y="2144"/>
                    <a:pt x="246" y="2141"/>
                  </a:cubicBezTo>
                  <a:cubicBezTo>
                    <a:pt x="241" y="2138"/>
                    <a:pt x="236" y="2134"/>
                    <a:pt x="230" y="2130"/>
                  </a:cubicBezTo>
                  <a:cubicBezTo>
                    <a:pt x="226" y="2127"/>
                    <a:pt x="221" y="2124"/>
                    <a:pt x="217" y="2121"/>
                  </a:cubicBezTo>
                  <a:cubicBezTo>
                    <a:pt x="212" y="2117"/>
                    <a:pt x="208" y="2113"/>
                    <a:pt x="203" y="2109"/>
                  </a:cubicBezTo>
                  <a:cubicBezTo>
                    <a:pt x="193" y="2102"/>
                    <a:pt x="183" y="2093"/>
                    <a:pt x="174" y="2084"/>
                  </a:cubicBezTo>
                  <a:cubicBezTo>
                    <a:pt x="152" y="2064"/>
                    <a:pt x="131" y="2042"/>
                    <a:pt x="112" y="2017"/>
                  </a:cubicBezTo>
                  <a:cubicBezTo>
                    <a:pt x="112" y="2017"/>
                    <a:pt x="112" y="2017"/>
                    <a:pt x="112" y="2017"/>
                  </a:cubicBezTo>
                  <a:cubicBezTo>
                    <a:pt x="107" y="2011"/>
                    <a:pt x="102" y="2005"/>
                    <a:pt x="97" y="1998"/>
                  </a:cubicBezTo>
                  <a:cubicBezTo>
                    <a:pt x="92" y="1992"/>
                    <a:pt x="88" y="1985"/>
                    <a:pt x="83" y="1979"/>
                  </a:cubicBezTo>
                  <a:cubicBezTo>
                    <a:pt x="69" y="1956"/>
                    <a:pt x="57" y="1933"/>
                    <a:pt x="48" y="1912"/>
                  </a:cubicBezTo>
                  <a:cubicBezTo>
                    <a:pt x="44" y="1901"/>
                    <a:pt x="39" y="1891"/>
                    <a:pt x="37" y="1881"/>
                  </a:cubicBezTo>
                  <a:cubicBezTo>
                    <a:pt x="36" y="1876"/>
                    <a:pt x="34" y="1871"/>
                    <a:pt x="33" y="1866"/>
                  </a:cubicBezTo>
                  <a:cubicBezTo>
                    <a:pt x="32" y="1862"/>
                    <a:pt x="31" y="1857"/>
                    <a:pt x="30" y="1853"/>
                  </a:cubicBezTo>
                  <a:cubicBezTo>
                    <a:pt x="29" y="1847"/>
                    <a:pt x="28" y="1842"/>
                    <a:pt x="28" y="1836"/>
                  </a:cubicBezTo>
                  <a:cubicBezTo>
                    <a:pt x="27" y="1833"/>
                    <a:pt x="27" y="1830"/>
                    <a:pt x="27" y="1828"/>
                  </a:cubicBezTo>
                  <a:cubicBezTo>
                    <a:pt x="27" y="1826"/>
                    <a:pt x="26" y="1825"/>
                    <a:pt x="26" y="1823"/>
                  </a:cubicBezTo>
                  <a:cubicBezTo>
                    <a:pt x="26" y="1822"/>
                    <a:pt x="26" y="1820"/>
                    <a:pt x="26" y="1818"/>
                  </a:cubicBezTo>
                  <a:cubicBezTo>
                    <a:pt x="26" y="1813"/>
                    <a:pt x="25" y="1808"/>
                    <a:pt x="25" y="1802"/>
                  </a:cubicBezTo>
                  <a:cubicBezTo>
                    <a:pt x="24" y="1796"/>
                    <a:pt x="24" y="1790"/>
                    <a:pt x="24" y="1784"/>
                  </a:cubicBezTo>
                  <a:cubicBezTo>
                    <a:pt x="24" y="1780"/>
                    <a:pt x="24" y="1777"/>
                    <a:pt x="24" y="1774"/>
                  </a:cubicBezTo>
                  <a:cubicBezTo>
                    <a:pt x="24" y="1771"/>
                    <a:pt x="24" y="1767"/>
                    <a:pt x="24" y="1764"/>
                  </a:cubicBezTo>
                  <a:cubicBezTo>
                    <a:pt x="24" y="1761"/>
                    <a:pt x="24" y="1757"/>
                    <a:pt x="25" y="1754"/>
                  </a:cubicBezTo>
                  <a:cubicBezTo>
                    <a:pt x="25" y="1750"/>
                    <a:pt x="25" y="1747"/>
                    <a:pt x="25" y="1743"/>
                  </a:cubicBezTo>
                  <a:cubicBezTo>
                    <a:pt x="26" y="1740"/>
                    <a:pt x="26" y="1736"/>
                    <a:pt x="26" y="1733"/>
                  </a:cubicBezTo>
                  <a:cubicBezTo>
                    <a:pt x="27" y="1727"/>
                    <a:pt x="27" y="1727"/>
                    <a:pt x="27" y="1727"/>
                  </a:cubicBezTo>
                  <a:cubicBezTo>
                    <a:pt x="27" y="1726"/>
                    <a:pt x="28" y="1724"/>
                    <a:pt x="28" y="1722"/>
                  </a:cubicBezTo>
                  <a:cubicBezTo>
                    <a:pt x="29" y="1715"/>
                    <a:pt x="30" y="1708"/>
                    <a:pt x="31" y="1701"/>
                  </a:cubicBezTo>
                  <a:cubicBezTo>
                    <a:pt x="33" y="1693"/>
                    <a:pt x="35" y="1686"/>
                    <a:pt x="37" y="1679"/>
                  </a:cubicBezTo>
                  <a:cubicBezTo>
                    <a:pt x="38" y="1673"/>
                    <a:pt x="38" y="1673"/>
                    <a:pt x="38" y="1673"/>
                  </a:cubicBezTo>
                  <a:cubicBezTo>
                    <a:pt x="39" y="1668"/>
                    <a:pt x="39" y="1668"/>
                    <a:pt x="39" y="1668"/>
                  </a:cubicBezTo>
                  <a:cubicBezTo>
                    <a:pt x="40" y="1664"/>
                    <a:pt x="41" y="1661"/>
                    <a:pt x="42" y="1657"/>
                  </a:cubicBezTo>
                  <a:cubicBezTo>
                    <a:pt x="43" y="1655"/>
                    <a:pt x="44" y="1653"/>
                    <a:pt x="44" y="1652"/>
                  </a:cubicBezTo>
                  <a:cubicBezTo>
                    <a:pt x="44" y="1650"/>
                    <a:pt x="45" y="1649"/>
                    <a:pt x="45" y="1648"/>
                  </a:cubicBezTo>
                  <a:cubicBezTo>
                    <a:pt x="47" y="1641"/>
                    <a:pt x="50" y="1634"/>
                    <a:pt x="52" y="1626"/>
                  </a:cubicBezTo>
                  <a:cubicBezTo>
                    <a:pt x="53" y="1623"/>
                    <a:pt x="54" y="1619"/>
                    <a:pt x="56" y="1615"/>
                  </a:cubicBezTo>
                  <a:cubicBezTo>
                    <a:pt x="57" y="1612"/>
                    <a:pt x="58" y="1608"/>
                    <a:pt x="60" y="1605"/>
                  </a:cubicBezTo>
                  <a:cubicBezTo>
                    <a:pt x="62" y="1598"/>
                    <a:pt x="64" y="1592"/>
                    <a:pt x="67" y="1585"/>
                  </a:cubicBezTo>
                  <a:cubicBezTo>
                    <a:pt x="69" y="1579"/>
                    <a:pt x="72" y="1573"/>
                    <a:pt x="74" y="1567"/>
                  </a:cubicBezTo>
                  <a:cubicBezTo>
                    <a:pt x="75" y="1564"/>
                    <a:pt x="77" y="1561"/>
                    <a:pt x="78" y="1558"/>
                  </a:cubicBezTo>
                  <a:cubicBezTo>
                    <a:pt x="79" y="1555"/>
                    <a:pt x="80" y="1552"/>
                    <a:pt x="81" y="1549"/>
                  </a:cubicBezTo>
                  <a:cubicBezTo>
                    <a:pt x="84" y="1543"/>
                    <a:pt x="86" y="1537"/>
                    <a:pt x="89" y="1532"/>
                  </a:cubicBezTo>
                  <a:cubicBezTo>
                    <a:pt x="93" y="1521"/>
                    <a:pt x="98" y="1511"/>
                    <a:pt x="102" y="1501"/>
                  </a:cubicBezTo>
                  <a:cubicBezTo>
                    <a:pt x="106" y="1492"/>
                    <a:pt x="110" y="1482"/>
                    <a:pt x="113" y="1474"/>
                  </a:cubicBezTo>
                  <a:cubicBezTo>
                    <a:pt x="117" y="1465"/>
                    <a:pt x="122" y="1453"/>
                    <a:pt x="128" y="1442"/>
                  </a:cubicBezTo>
                  <a:cubicBezTo>
                    <a:pt x="137" y="1423"/>
                    <a:pt x="149" y="1400"/>
                    <a:pt x="162" y="1376"/>
                  </a:cubicBezTo>
                  <a:cubicBezTo>
                    <a:pt x="177" y="1351"/>
                    <a:pt x="193" y="1325"/>
                    <a:pt x="210" y="1299"/>
                  </a:cubicBezTo>
                  <a:cubicBezTo>
                    <a:pt x="209" y="1298"/>
                    <a:pt x="209" y="1298"/>
                    <a:pt x="209" y="1298"/>
                  </a:cubicBezTo>
                  <a:cubicBezTo>
                    <a:pt x="200" y="1312"/>
                    <a:pt x="191" y="1325"/>
                    <a:pt x="182" y="133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4" name="Freeform 31"/>
            <p:cNvSpPr>
              <a:spLocks/>
            </p:cNvSpPr>
            <p:nvPr/>
          </p:nvSpPr>
          <p:spPr bwMode="gray">
            <a:xfrm>
              <a:off x="-1085850" y="-1701800"/>
              <a:ext cx="14143038" cy="8142288"/>
            </a:xfrm>
            <a:custGeom>
              <a:avLst/>
              <a:gdLst>
                <a:gd name="T0" fmla="*/ 1 w 4520"/>
                <a:gd name="T1" fmla="*/ 1757 h 2601"/>
                <a:gd name="T2" fmla="*/ 22 w 4520"/>
                <a:gd name="T3" fmla="*/ 1907 h 2601"/>
                <a:gd name="T4" fmla="*/ 190 w 4520"/>
                <a:gd name="T5" fmla="*/ 2150 h 2601"/>
                <a:gd name="T6" fmla="*/ 576 w 4520"/>
                <a:gd name="T7" fmla="*/ 2403 h 2601"/>
                <a:gd name="T8" fmla="*/ 1002 w 4520"/>
                <a:gd name="T9" fmla="*/ 2577 h 2601"/>
                <a:gd name="T10" fmla="*/ 1476 w 4520"/>
                <a:gd name="T11" fmla="*/ 2458 h 2601"/>
                <a:gd name="T12" fmla="*/ 1893 w 4520"/>
                <a:gd name="T13" fmla="*/ 2111 h 2601"/>
                <a:gd name="T14" fmla="*/ 2288 w 4520"/>
                <a:gd name="T15" fmla="*/ 1774 h 2601"/>
                <a:gd name="T16" fmla="*/ 2626 w 4520"/>
                <a:gd name="T17" fmla="*/ 1695 h 2601"/>
                <a:gd name="T18" fmla="*/ 2894 w 4520"/>
                <a:gd name="T19" fmla="*/ 1733 h 2601"/>
                <a:gd name="T20" fmla="*/ 3397 w 4520"/>
                <a:gd name="T21" fmla="*/ 1852 h 2601"/>
                <a:gd name="T22" fmla="*/ 3855 w 4520"/>
                <a:gd name="T23" fmla="*/ 1766 h 2601"/>
                <a:gd name="T24" fmla="*/ 4149 w 4520"/>
                <a:gd name="T25" fmla="*/ 1584 h 2601"/>
                <a:gd name="T26" fmla="*/ 4470 w 4520"/>
                <a:gd name="T27" fmla="*/ 1247 h 2601"/>
                <a:gd name="T28" fmla="*/ 4493 w 4520"/>
                <a:gd name="T29" fmla="*/ 922 h 2601"/>
                <a:gd name="T30" fmla="*/ 4264 w 4520"/>
                <a:gd name="T31" fmla="*/ 554 h 2601"/>
                <a:gd name="T32" fmla="*/ 3946 w 4520"/>
                <a:gd name="T33" fmla="*/ 207 h 2601"/>
                <a:gd name="T34" fmla="*/ 3685 w 4520"/>
                <a:gd name="T35" fmla="*/ 45 h 2601"/>
                <a:gd name="T36" fmla="*/ 3532 w 4520"/>
                <a:gd name="T37" fmla="*/ 0 h 2601"/>
                <a:gd name="T38" fmla="*/ 3410 w 4520"/>
                <a:gd name="T39" fmla="*/ 15 h 2601"/>
                <a:gd name="T40" fmla="*/ 3186 w 4520"/>
                <a:gd name="T41" fmla="*/ 104 h 2601"/>
                <a:gd name="T42" fmla="*/ 2769 w 4520"/>
                <a:gd name="T43" fmla="*/ 317 h 2601"/>
                <a:gd name="T44" fmla="*/ 2352 w 4520"/>
                <a:gd name="T45" fmla="*/ 575 h 2601"/>
                <a:gd name="T46" fmla="*/ 1981 w 4520"/>
                <a:gd name="T47" fmla="*/ 773 h 2601"/>
                <a:gd name="T48" fmla="*/ 1700 w 4520"/>
                <a:gd name="T49" fmla="*/ 910 h 2601"/>
                <a:gd name="T50" fmla="*/ 1460 w 4520"/>
                <a:gd name="T51" fmla="*/ 924 h 2601"/>
                <a:gd name="T52" fmla="*/ 1182 w 4520"/>
                <a:gd name="T53" fmla="*/ 895 h 2601"/>
                <a:gd name="T54" fmla="*/ 874 w 4520"/>
                <a:gd name="T55" fmla="*/ 902 h 2601"/>
                <a:gd name="T56" fmla="*/ 478 w 4520"/>
                <a:gd name="T57" fmla="*/ 1002 h 2601"/>
                <a:gd name="T58" fmla="*/ 212 w 4520"/>
                <a:gd name="T59" fmla="*/ 1312 h 2601"/>
                <a:gd name="T60" fmla="*/ 450 w 4520"/>
                <a:gd name="T61" fmla="*/ 1055 h 2601"/>
                <a:gd name="T62" fmla="*/ 673 w 4520"/>
                <a:gd name="T63" fmla="*/ 938 h 2601"/>
                <a:gd name="T64" fmla="*/ 981 w 4520"/>
                <a:gd name="T65" fmla="*/ 899 h 2601"/>
                <a:gd name="T66" fmla="*/ 1401 w 4520"/>
                <a:gd name="T67" fmla="*/ 940 h 2601"/>
                <a:gd name="T68" fmla="*/ 1659 w 4520"/>
                <a:gd name="T69" fmla="*/ 920 h 2601"/>
                <a:gd name="T70" fmla="*/ 2063 w 4520"/>
                <a:gd name="T71" fmla="*/ 758 h 2601"/>
                <a:gd name="T72" fmla="*/ 2548 w 4520"/>
                <a:gd name="T73" fmla="*/ 470 h 2601"/>
                <a:gd name="T74" fmla="*/ 2997 w 4520"/>
                <a:gd name="T75" fmla="*/ 204 h 2601"/>
                <a:gd name="T76" fmla="*/ 3340 w 4520"/>
                <a:gd name="T77" fmla="*/ 62 h 2601"/>
                <a:gd name="T78" fmla="*/ 3496 w 4520"/>
                <a:gd name="T79" fmla="*/ 25 h 2601"/>
                <a:gd name="T80" fmla="*/ 3685 w 4520"/>
                <a:gd name="T81" fmla="*/ 52 h 2601"/>
                <a:gd name="T82" fmla="*/ 4093 w 4520"/>
                <a:gd name="T83" fmla="*/ 382 h 2601"/>
                <a:gd name="T84" fmla="*/ 4360 w 4520"/>
                <a:gd name="T85" fmla="*/ 683 h 2601"/>
                <a:gd name="T86" fmla="*/ 4494 w 4520"/>
                <a:gd name="T87" fmla="*/ 1074 h 2601"/>
                <a:gd name="T88" fmla="*/ 4320 w 4520"/>
                <a:gd name="T89" fmla="*/ 1424 h 2601"/>
                <a:gd name="T90" fmla="*/ 3885 w 4520"/>
                <a:gd name="T91" fmla="*/ 1730 h 2601"/>
                <a:gd name="T92" fmla="*/ 3585 w 4520"/>
                <a:gd name="T93" fmla="*/ 1837 h 2601"/>
                <a:gd name="T94" fmla="*/ 3232 w 4520"/>
                <a:gd name="T95" fmla="*/ 1806 h 2601"/>
                <a:gd name="T96" fmla="*/ 2801 w 4520"/>
                <a:gd name="T97" fmla="*/ 1709 h 2601"/>
                <a:gd name="T98" fmla="*/ 2419 w 4520"/>
                <a:gd name="T99" fmla="*/ 1704 h 2601"/>
                <a:gd name="T100" fmla="*/ 2172 w 4520"/>
                <a:gd name="T101" fmla="*/ 1845 h 2601"/>
                <a:gd name="T102" fmla="*/ 1799 w 4520"/>
                <a:gd name="T103" fmla="*/ 2163 h 2601"/>
                <a:gd name="T104" fmla="*/ 1445 w 4520"/>
                <a:gd name="T105" fmla="*/ 2474 h 2601"/>
                <a:gd name="T106" fmla="*/ 1130 w 4520"/>
                <a:gd name="T107" fmla="*/ 2573 h 2601"/>
                <a:gd name="T108" fmla="*/ 622 w 4520"/>
                <a:gd name="T109" fmla="*/ 2409 h 2601"/>
                <a:gd name="T110" fmla="*/ 256 w 4520"/>
                <a:gd name="T111" fmla="*/ 2197 h 2601"/>
                <a:gd name="T112" fmla="*/ 37 w 4520"/>
                <a:gd name="T113" fmla="*/ 1922 h 2601"/>
                <a:gd name="T114" fmla="*/ 23 w 4520"/>
                <a:gd name="T115" fmla="*/ 1795 h 2601"/>
                <a:gd name="T116" fmla="*/ 42 w 4520"/>
                <a:gd name="T117" fmla="*/ 1680 h 2601"/>
                <a:gd name="T118" fmla="*/ 90 w 4520"/>
                <a:gd name="T119" fmla="*/ 1550 h 2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20" h="2601">
                  <a:moveTo>
                    <a:pt x="186" y="1353"/>
                  </a:moveTo>
                  <a:cubicBezTo>
                    <a:pt x="156" y="1399"/>
                    <a:pt x="129" y="1442"/>
                    <a:pt x="110" y="1472"/>
                  </a:cubicBezTo>
                  <a:cubicBezTo>
                    <a:pt x="103" y="1483"/>
                    <a:pt x="98" y="1491"/>
                    <a:pt x="91" y="1503"/>
                  </a:cubicBezTo>
                  <a:cubicBezTo>
                    <a:pt x="68" y="1541"/>
                    <a:pt x="39" y="1601"/>
                    <a:pt x="20" y="1663"/>
                  </a:cubicBezTo>
                  <a:cubicBezTo>
                    <a:pt x="19" y="1664"/>
                    <a:pt x="19" y="1665"/>
                    <a:pt x="19" y="1666"/>
                  </a:cubicBezTo>
                  <a:cubicBezTo>
                    <a:pt x="18" y="1669"/>
                    <a:pt x="17" y="1671"/>
                    <a:pt x="17" y="1673"/>
                  </a:cubicBezTo>
                  <a:cubicBezTo>
                    <a:pt x="12" y="1689"/>
                    <a:pt x="8" y="1706"/>
                    <a:pt x="5" y="1723"/>
                  </a:cubicBezTo>
                  <a:cubicBezTo>
                    <a:pt x="4" y="1730"/>
                    <a:pt x="3" y="1738"/>
                    <a:pt x="2" y="1745"/>
                  </a:cubicBezTo>
                  <a:cubicBezTo>
                    <a:pt x="1" y="1751"/>
                    <a:pt x="1" y="1751"/>
                    <a:pt x="1" y="1751"/>
                  </a:cubicBezTo>
                  <a:cubicBezTo>
                    <a:pt x="1" y="1753"/>
                    <a:pt x="1" y="1755"/>
                    <a:pt x="1" y="1757"/>
                  </a:cubicBezTo>
                  <a:cubicBezTo>
                    <a:pt x="1" y="1761"/>
                    <a:pt x="0" y="1764"/>
                    <a:pt x="0" y="1768"/>
                  </a:cubicBezTo>
                  <a:cubicBezTo>
                    <a:pt x="0" y="1772"/>
                    <a:pt x="0" y="1776"/>
                    <a:pt x="0" y="1779"/>
                  </a:cubicBezTo>
                  <a:cubicBezTo>
                    <a:pt x="0" y="1783"/>
                    <a:pt x="0" y="1787"/>
                    <a:pt x="0" y="1790"/>
                  </a:cubicBezTo>
                  <a:cubicBezTo>
                    <a:pt x="0" y="1797"/>
                    <a:pt x="0" y="1804"/>
                    <a:pt x="1" y="1811"/>
                  </a:cubicBezTo>
                  <a:cubicBezTo>
                    <a:pt x="2" y="1824"/>
                    <a:pt x="3" y="1837"/>
                    <a:pt x="6" y="1848"/>
                  </a:cubicBezTo>
                  <a:cubicBezTo>
                    <a:pt x="7" y="1854"/>
                    <a:pt x="8" y="1860"/>
                    <a:pt x="9" y="1865"/>
                  </a:cubicBezTo>
                  <a:cubicBezTo>
                    <a:pt x="11" y="1870"/>
                    <a:pt x="12" y="1876"/>
                    <a:pt x="13" y="1880"/>
                  </a:cubicBezTo>
                  <a:cubicBezTo>
                    <a:pt x="14" y="1882"/>
                    <a:pt x="15" y="1885"/>
                    <a:pt x="16" y="1888"/>
                  </a:cubicBezTo>
                  <a:cubicBezTo>
                    <a:pt x="17" y="1891"/>
                    <a:pt x="18" y="1894"/>
                    <a:pt x="19" y="1897"/>
                  </a:cubicBezTo>
                  <a:cubicBezTo>
                    <a:pt x="20" y="1901"/>
                    <a:pt x="21" y="1904"/>
                    <a:pt x="22" y="1907"/>
                  </a:cubicBezTo>
                  <a:cubicBezTo>
                    <a:pt x="24" y="1912"/>
                    <a:pt x="24" y="1912"/>
                    <a:pt x="24" y="1912"/>
                  </a:cubicBezTo>
                  <a:cubicBezTo>
                    <a:pt x="26" y="1917"/>
                    <a:pt x="26" y="1917"/>
                    <a:pt x="26" y="1917"/>
                  </a:cubicBezTo>
                  <a:cubicBezTo>
                    <a:pt x="34" y="1939"/>
                    <a:pt x="46" y="1964"/>
                    <a:pt x="61" y="1989"/>
                  </a:cubicBezTo>
                  <a:cubicBezTo>
                    <a:pt x="76" y="2016"/>
                    <a:pt x="95" y="2043"/>
                    <a:pt x="116" y="2069"/>
                  </a:cubicBezTo>
                  <a:cubicBezTo>
                    <a:pt x="115" y="2069"/>
                    <a:pt x="115" y="2069"/>
                    <a:pt x="115" y="2069"/>
                  </a:cubicBezTo>
                  <a:cubicBezTo>
                    <a:pt x="126" y="2082"/>
                    <a:pt x="137" y="2095"/>
                    <a:pt x="148" y="2107"/>
                  </a:cubicBezTo>
                  <a:cubicBezTo>
                    <a:pt x="151" y="2109"/>
                    <a:pt x="153" y="2112"/>
                    <a:pt x="155" y="2115"/>
                  </a:cubicBezTo>
                  <a:cubicBezTo>
                    <a:pt x="158" y="2117"/>
                    <a:pt x="160" y="2120"/>
                    <a:pt x="162" y="2122"/>
                  </a:cubicBezTo>
                  <a:cubicBezTo>
                    <a:pt x="167" y="2127"/>
                    <a:pt x="171" y="2132"/>
                    <a:pt x="176" y="2137"/>
                  </a:cubicBezTo>
                  <a:cubicBezTo>
                    <a:pt x="181" y="2141"/>
                    <a:pt x="185" y="2146"/>
                    <a:pt x="190" y="2150"/>
                  </a:cubicBezTo>
                  <a:cubicBezTo>
                    <a:pt x="194" y="2155"/>
                    <a:pt x="198" y="2159"/>
                    <a:pt x="203" y="2164"/>
                  </a:cubicBezTo>
                  <a:cubicBezTo>
                    <a:pt x="221" y="2181"/>
                    <a:pt x="238" y="2195"/>
                    <a:pt x="251" y="2208"/>
                  </a:cubicBezTo>
                  <a:cubicBezTo>
                    <a:pt x="261" y="2216"/>
                    <a:pt x="269" y="2223"/>
                    <a:pt x="280" y="2231"/>
                  </a:cubicBezTo>
                  <a:cubicBezTo>
                    <a:pt x="314" y="2259"/>
                    <a:pt x="370" y="2295"/>
                    <a:pt x="423" y="2326"/>
                  </a:cubicBezTo>
                  <a:cubicBezTo>
                    <a:pt x="424" y="2326"/>
                    <a:pt x="425" y="2327"/>
                    <a:pt x="426" y="2327"/>
                  </a:cubicBezTo>
                  <a:cubicBezTo>
                    <a:pt x="428" y="2328"/>
                    <a:pt x="430" y="2329"/>
                    <a:pt x="432" y="2330"/>
                  </a:cubicBezTo>
                  <a:cubicBezTo>
                    <a:pt x="446" y="2338"/>
                    <a:pt x="460" y="2346"/>
                    <a:pt x="474" y="2353"/>
                  </a:cubicBezTo>
                  <a:cubicBezTo>
                    <a:pt x="486" y="2360"/>
                    <a:pt x="499" y="2366"/>
                    <a:pt x="511" y="2372"/>
                  </a:cubicBezTo>
                  <a:cubicBezTo>
                    <a:pt x="523" y="2378"/>
                    <a:pt x="534" y="2383"/>
                    <a:pt x="546" y="2389"/>
                  </a:cubicBezTo>
                  <a:cubicBezTo>
                    <a:pt x="557" y="2394"/>
                    <a:pt x="567" y="2399"/>
                    <a:pt x="576" y="2403"/>
                  </a:cubicBezTo>
                  <a:cubicBezTo>
                    <a:pt x="586" y="2407"/>
                    <a:pt x="596" y="2411"/>
                    <a:pt x="604" y="2414"/>
                  </a:cubicBezTo>
                  <a:cubicBezTo>
                    <a:pt x="613" y="2418"/>
                    <a:pt x="625" y="2423"/>
                    <a:pt x="637" y="2428"/>
                  </a:cubicBezTo>
                  <a:cubicBezTo>
                    <a:pt x="657" y="2436"/>
                    <a:pt x="681" y="2446"/>
                    <a:pt x="705" y="2457"/>
                  </a:cubicBezTo>
                  <a:cubicBezTo>
                    <a:pt x="732" y="2469"/>
                    <a:pt x="761" y="2482"/>
                    <a:pt x="789" y="2495"/>
                  </a:cubicBezTo>
                  <a:cubicBezTo>
                    <a:pt x="789" y="2495"/>
                    <a:pt x="789" y="2495"/>
                    <a:pt x="789" y="2495"/>
                  </a:cubicBezTo>
                  <a:cubicBezTo>
                    <a:pt x="797" y="2498"/>
                    <a:pt x="805" y="2501"/>
                    <a:pt x="812" y="2504"/>
                  </a:cubicBezTo>
                  <a:cubicBezTo>
                    <a:pt x="820" y="2508"/>
                    <a:pt x="827" y="2511"/>
                    <a:pt x="835" y="2514"/>
                  </a:cubicBezTo>
                  <a:cubicBezTo>
                    <a:pt x="885" y="2535"/>
                    <a:pt x="933" y="2553"/>
                    <a:pt x="967" y="2565"/>
                  </a:cubicBezTo>
                  <a:cubicBezTo>
                    <a:pt x="973" y="2567"/>
                    <a:pt x="979" y="2569"/>
                    <a:pt x="984" y="2571"/>
                  </a:cubicBezTo>
                  <a:cubicBezTo>
                    <a:pt x="990" y="2573"/>
                    <a:pt x="996" y="2575"/>
                    <a:pt x="1002" y="2577"/>
                  </a:cubicBezTo>
                  <a:cubicBezTo>
                    <a:pt x="1024" y="2583"/>
                    <a:pt x="1052" y="2590"/>
                    <a:pt x="1082" y="2594"/>
                  </a:cubicBezTo>
                  <a:cubicBezTo>
                    <a:pt x="1113" y="2599"/>
                    <a:pt x="1148" y="2601"/>
                    <a:pt x="1182" y="2598"/>
                  </a:cubicBezTo>
                  <a:cubicBezTo>
                    <a:pt x="1183" y="2598"/>
                    <a:pt x="1185" y="2598"/>
                    <a:pt x="1186" y="2597"/>
                  </a:cubicBezTo>
                  <a:cubicBezTo>
                    <a:pt x="1188" y="2597"/>
                    <a:pt x="1190" y="2597"/>
                    <a:pt x="1193" y="2597"/>
                  </a:cubicBezTo>
                  <a:cubicBezTo>
                    <a:pt x="1210" y="2594"/>
                    <a:pt x="1228" y="2591"/>
                    <a:pt x="1245" y="2586"/>
                  </a:cubicBezTo>
                  <a:cubicBezTo>
                    <a:pt x="1275" y="2577"/>
                    <a:pt x="1302" y="2565"/>
                    <a:pt x="1325" y="2554"/>
                  </a:cubicBezTo>
                  <a:cubicBezTo>
                    <a:pt x="1336" y="2548"/>
                    <a:pt x="1346" y="2542"/>
                    <a:pt x="1355" y="2537"/>
                  </a:cubicBezTo>
                  <a:cubicBezTo>
                    <a:pt x="1365" y="2532"/>
                    <a:pt x="1374" y="2526"/>
                    <a:pt x="1381" y="2522"/>
                  </a:cubicBezTo>
                  <a:cubicBezTo>
                    <a:pt x="1390" y="2516"/>
                    <a:pt x="1402" y="2509"/>
                    <a:pt x="1413" y="2502"/>
                  </a:cubicBezTo>
                  <a:cubicBezTo>
                    <a:pt x="1431" y="2490"/>
                    <a:pt x="1454" y="2475"/>
                    <a:pt x="1476" y="2458"/>
                  </a:cubicBezTo>
                  <a:cubicBezTo>
                    <a:pt x="1501" y="2440"/>
                    <a:pt x="1525" y="2420"/>
                    <a:pt x="1549" y="2400"/>
                  </a:cubicBezTo>
                  <a:cubicBezTo>
                    <a:pt x="1549" y="2400"/>
                    <a:pt x="1549" y="2400"/>
                    <a:pt x="1549" y="2400"/>
                  </a:cubicBezTo>
                  <a:cubicBezTo>
                    <a:pt x="1562" y="2390"/>
                    <a:pt x="1575" y="2380"/>
                    <a:pt x="1587" y="2369"/>
                  </a:cubicBezTo>
                  <a:cubicBezTo>
                    <a:pt x="1608" y="2353"/>
                    <a:pt x="1628" y="2336"/>
                    <a:pt x="1646" y="2322"/>
                  </a:cubicBezTo>
                  <a:cubicBezTo>
                    <a:pt x="1665" y="2307"/>
                    <a:pt x="1682" y="2294"/>
                    <a:pt x="1696" y="2283"/>
                  </a:cubicBezTo>
                  <a:cubicBezTo>
                    <a:pt x="1706" y="2275"/>
                    <a:pt x="1714" y="2270"/>
                    <a:pt x="1725" y="2261"/>
                  </a:cubicBezTo>
                  <a:cubicBezTo>
                    <a:pt x="1759" y="2234"/>
                    <a:pt x="1807" y="2191"/>
                    <a:pt x="1851" y="2150"/>
                  </a:cubicBezTo>
                  <a:cubicBezTo>
                    <a:pt x="1852" y="2149"/>
                    <a:pt x="1853" y="2148"/>
                    <a:pt x="1854" y="2148"/>
                  </a:cubicBezTo>
                  <a:cubicBezTo>
                    <a:pt x="1855" y="2146"/>
                    <a:pt x="1857" y="2145"/>
                    <a:pt x="1858" y="2143"/>
                  </a:cubicBezTo>
                  <a:cubicBezTo>
                    <a:pt x="1870" y="2133"/>
                    <a:pt x="1881" y="2122"/>
                    <a:pt x="1893" y="2111"/>
                  </a:cubicBezTo>
                  <a:cubicBezTo>
                    <a:pt x="1913" y="2092"/>
                    <a:pt x="1932" y="2073"/>
                    <a:pt x="1949" y="2056"/>
                  </a:cubicBezTo>
                  <a:cubicBezTo>
                    <a:pt x="1958" y="2047"/>
                    <a:pt x="1966" y="2039"/>
                    <a:pt x="1973" y="2032"/>
                  </a:cubicBezTo>
                  <a:cubicBezTo>
                    <a:pt x="1980" y="2025"/>
                    <a:pt x="1987" y="2016"/>
                    <a:pt x="1993" y="2010"/>
                  </a:cubicBezTo>
                  <a:cubicBezTo>
                    <a:pt x="1999" y="2003"/>
                    <a:pt x="2008" y="1994"/>
                    <a:pt x="2017" y="1985"/>
                  </a:cubicBezTo>
                  <a:cubicBezTo>
                    <a:pt x="2032" y="1970"/>
                    <a:pt x="2051" y="1952"/>
                    <a:pt x="2070" y="1934"/>
                  </a:cubicBezTo>
                  <a:cubicBezTo>
                    <a:pt x="2091" y="1914"/>
                    <a:pt x="2114" y="1894"/>
                    <a:pt x="2138" y="1874"/>
                  </a:cubicBezTo>
                  <a:cubicBezTo>
                    <a:pt x="2138" y="1874"/>
                    <a:pt x="2138" y="1874"/>
                    <a:pt x="2138" y="1874"/>
                  </a:cubicBezTo>
                  <a:cubicBezTo>
                    <a:pt x="2144" y="1869"/>
                    <a:pt x="2150" y="1864"/>
                    <a:pt x="2156" y="1859"/>
                  </a:cubicBezTo>
                  <a:cubicBezTo>
                    <a:pt x="2162" y="1855"/>
                    <a:pt x="2169" y="1850"/>
                    <a:pt x="2175" y="1845"/>
                  </a:cubicBezTo>
                  <a:cubicBezTo>
                    <a:pt x="2216" y="1814"/>
                    <a:pt x="2258" y="1789"/>
                    <a:pt x="2288" y="1774"/>
                  </a:cubicBezTo>
                  <a:cubicBezTo>
                    <a:pt x="2298" y="1770"/>
                    <a:pt x="2307" y="1766"/>
                    <a:pt x="2318" y="1762"/>
                  </a:cubicBezTo>
                  <a:cubicBezTo>
                    <a:pt x="2337" y="1754"/>
                    <a:pt x="2359" y="1746"/>
                    <a:pt x="2385" y="1739"/>
                  </a:cubicBezTo>
                  <a:cubicBezTo>
                    <a:pt x="2398" y="1735"/>
                    <a:pt x="2412" y="1731"/>
                    <a:pt x="2427" y="1728"/>
                  </a:cubicBezTo>
                  <a:cubicBezTo>
                    <a:pt x="2442" y="1724"/>
                    <a:pt x="2456" y="1721"/>
                    <a:pt x="2471" y="1717"/>
                  </a:cubicBezTo>
                  <a:cubicBezTo>
                    <a:pt x="2472" y="1717"/>
                    <a:pt x="2473" y="1717"/>
                    <a:pt x="2474" y="1716"/>
                  </a:cubicBezTo>
                  <a:cubicBezTo>
                    <a:pt x="2476" y="1716"/>
                    <a:pt x="2478" y="1715"/>
                    <a:pt x="2480" y="1715"/>
                  </a:cubicBezTo>
                  <a:cubicBezTo>
                    <a:pt x="2495" y="1711"/>
                    <a:pt x="2510" y="1708"/>
                    <a:pt x="2524" y="1705"/>
                  </a:cubicBezTo>
                  <a:cubicBezTo>
                    <a:pt x="2549" y="1700"/>
                    <a:pt x="2572" y="1697"/>
                    <a:pt x="2595" y="1696"/>
                  </a:cubicBezTo>
                  <a:cubicBezTo>
                    <a:pt x="2600" y="1696"/>
                    <a:pt x="2606" y="1696"/>
                    <a:pt x="2611" y="1695"/>
                  </a:cubicBezTo>
                  <a:cubicBezTo>
                    <a:pt x="2616" y="1695"/>
                    <a:pt x="2621" y="1695"/>
                    <a:pt x="2626" y="1695"/>
                  </a:cubicBezTo>
                  <a:cubicBezTo>
                    <a:pt x="2636" y="1695"/>
                    <a:pt x="2646" y="1695"/>
                    <a:pt x="2654" y="1695"/>
                  </a:cubicBezTo>
                  <a:cubicBezTo>
                    <a:pt x="2664" y="1695"/>
                    <a:pt x="2676" y="1696"/>
                    <a:pt x="2689" y="1696"/>
                  </a:cubicBezTo>
                  <a:cubicBezTo>
                    <a:pt x="2699" y="1697"/>
                    <a:pt x="2710" y="1698"/>
                    <a:pt x="2723" y="1699"/>
                  </a:cubicBezTo>
                  <a:cubicBezTo>
                    <a:pt x="2729" y="1700"/>
                    <a:pt x="2735" y="1700"/>
                    <a:pt x="2741" y="1701"/>
                  </a:cubicBezTo>
                  <a:cubicBezTo>
                    <a:pt x="2748" y="1702"/>
                    <a:pt x="2754" y="1703"/>
                    <a:pt x="2760" y="1704"/>
                  </a:cubicBezTo>
                  <a:cubicBezTo>
                    <a:pt x="2767" y="1704"/>
                    <a:pt x="2774" y="1706"/>
                    <a:pt x="2781" y="1707"/>
                  </a:cubicBezTo>
                  <a:cubicBezTo>
                    <a:pt x="2788" y="1709"/>
                    <a:pt x="2796" y="1710"/>
                    <a:pt x="2803" y="1711"/>
                  </a:cubicBezTo>
                  <a:cubicBezTo>
                    <a:pt x="2818" y="1715"/>
                    <a:pt x="2832" y="1718"/>
                    <a:pt x="2847" y="1721"/>
                  </a:cubicBezTo>
                  <a:cubicBezTo>
                    <a:pt x="2847" y="1721"/>
                    <a:pt x="2847" y="1721"/>
                    <a:pt x="2847" y="1721"/>
                  </a:cubicBezTo>
                  <a:cubicBezTo>
                    <a:pt x="2863" y="1725"/>
                    <a:pt x="2879" y="1729"/>
                    <a:pt x="2894" y="1733"/>
                  </a:cubicBezTo>
                  <a:cubicBezTo>
                    <a:pt x="2945" y="1747"/>
                    <a:pt x="2992" y="1762"/>
                    <a:pt x="3026" y="1774"/>
                  </a:cubicBezTo>
                  <a:cubicBezTo>
                    <a:pt x="3037" y="1778"/>
                    <a:pt x="3046" y="1781"/>
                    <a:pt x="3059" y="1786"/>
                  </a:cubicBezTo>
                  <a:cubicBezTo>
                    <a:pt x="3100" y="1800"/>
                    <a:pt x="3163" y="1817"/>
                    <a:pt x="3223" y="1831"/>
                  </a:cubicBezTo>
                  <a:cubicBezTo>
                    <a:pt x="3224" y="1831"/>
                    <a:pt x="3225" y="1831"/>
                    <a:pt x="3227" y="1831"/>
                  </a:cubicBezTo>
                  <a:cubicBezTo>
                    <a:pt x="3229" y="1832"/>
                    <a:pt x="3231" y="1832"/>
                    <a:pt x="3233" y="1833"/>
                  </a:cubicBezTo>
                  <a:cubicBezTo>
                    <a:pt x="3248" y="1836"/>
                    <a:pt x="3265" y="1839"/>
                    <a:pt x="3280" y="1842"/>
                  </a:cubicBezTo>
                  <a:cubicBezTo>
                    <a:pt x="3287" y="1843"/>
                    <a:pt x="3294" y="1844"/>
                    <a:pt x="3301" y="1845"/>
                  </a:cubicBezTo>
                  <a:cubicBezTo>
                    <a:pt x="3309" y="1846"/>
                    <a:pt x="3316" y="1847"/>
                    <a:pt x="3322" y="1848"/>
                  </a:cubicBezTo>
                  <a:cubicBezTo>
                    <a:pt x="3336" y="1849"/>
                    <a:pt x="3350" y="1850"/>
                    <a:pt x="3363" y="1851"/>
                  </a:cubicBezTo>
                  <a:cubicBezTo>
                    <a:pt x="3375" y="1851"/>
                    <a:pt x="3387" y="1852"/>
                    <a:pt x="3397" y="1852"/>
                  </a:cubicBezTo>
                  <a:cubicBezTo>
                    <a:pt x="3408" y="1852"/>
                    <a:pt x="3420" y="1852"/>
                    <a:pt x="3428" y="1851"/>
                  </a:cubicBezTo>
                  <a:cubicBezTo>
                    <a:pt x="3438" y="1851"/>
                    <a:pt x="3451" y="1850"/>
                    <a:pt x="3465" y="1850"/>
                  </a:cubicBezTo>
                  <a:cubicBezTo>
                    <a:pt x="3486" y="1849"/>
                    <a:pt x="3513" y="1847"/>
                    <a:pt x="3541" y="1844"/>
                  </a:cubicBezTo>
                  <a:cubicBezTo>
                    <a:pt x="3571" y="1842"/>
                    <a:pt x="3603" y="1837"/>
                    <a:pt x="3635" y="1831"/>
                  </a:cubicBezTo>
                  <a:cubicBezTo>
                    <a:pt x="3635" y="1831"/>
                    <a:pt x="3635" y="1831"/>
                    <a:pt x="3635" y="1831"/>
                  </a:cubicBezTo>
                  <a:cubicBezTo>
                    <a:pt x="3651" y="1827"/>
                    <a:pt x="3668" y="1824"/>
                    <a:pt x="3684" y="1820"/>
                  </a:cubicBezTo>
                  <a:cubicBezTo>
                    <a:pt x="3711" y="1813"/>
                    <a:pt x="3736" y="1805"/>
                    <a:pt x="3759" y="1798"/>
                  </a:cubicBezTo>
                  <a:cubicBezTo>
                    <a:pt x="3771" y="1795"/>
                    <a:pt x="3782" y="1791"/>
                    <a:pt x="3792" y="1788"/>
                  </a:cubicBezTo>
                  <a:cubicBezTo>
                    <a:pt x="3802" y="1785"/>
                    <a:pt x="3812" y="1781"/>
                    <a:pt x="3821" y="1778"/>
                  </a:cubicBezTo>
                  <a:cubicBezTo>
                    <a:pt x="3833" y="1774"/>
                    <a:pt x="3842" y="1771"/>
                    <a:pt x="3855" y="1766"/>
                  </a:cubicBezTo>
                  <a:cubicBezTo>
                    <a:pt x="3866" y="1762"/>
                    <a:pt x="3878" y="1757"/>
                    <a:pt x="3890" y="1751"/>
                  </a:cubicBezTo>
                  <a:cubicBezTo>
                    <a:pt x="3896" y="1748"/>
                    <a:pt x="3902" y="1745"/>
                    <a:pt x="3909" y="1742"/>
                  </a:cubicBezTo>
                  <a:cubicBezTo>
                    <a:pt x="3915" y="1739"/>
                    <a:pt x="3922" y="1736"/>
                    <a:pt x="3928" y="1732"/>
                  </a:cubicBezTo>
                  <a:cubicBezTo>
                    <a:pt x="3955" y="1719"/>
                    <a:pt x="3983" y="1703"/>
                    <a:pt x="4009" y="1686"/>
                  </a:cubicBezTo>
                  <a:cubicBezTo>
                    <a:pt x="4010" y="1685"/>
                    <a:pt x="4011" y="1685"/>
                    <a:pt x="4012" y="1684"/>
                  </a:cubicBezTo>
                  <a:cubicBezTo>
                    <a:pt x="4014" y="1683"/>
                    <a:pt x="4016" y="1682"/>
                    <a:pt x="4017" y="1681"/>
                  </a:cubicBezTo>
                  <a:cubicBezTo>
                    <a:pt x="4024" y="1676"/>
                    <a:pt x="4031" y="1672"/>
                    <a:pt x="4038" y="1667"/>
                  </a:cubicBezTo>
                  <a:cubicBezTo>
                    <a:pt x="4044" y="1663"/>
                    <a:pt x="4051" y="1658"/>
                    <a:pt x="4057" y="1654"/>
                  </a:cubicBezTo>
                  <a:cubicBezTo>
                    <a:pt x="4081" y="1638"/>
                    <a:pt x="4103" y="1621"/>
                    <a:pt x="4122" y="1606"/>
                  </a:cubicBezTo>
                  <a:cubicBezTo>
                    <a:pt x="4132" y="1598"/>
                    <a:pt x="4141" y="1591"/>
                    <a:pt x="4149" y="1584"/>
                  </a:cubicBezTo>
                  <a:cubicBezTo>
                    <a:pt x="4157" y="1577"/>
                    <a:pt x="4165" y="1570"/>
                    <a:pt x="4171" y="1564"/>
                  </a:cubicBezTo>
                  <a:cubicBezTo>
                    <a:pt x="4179" y="1557"/>
                    <a:pt x="4189" y="1549"/>
                    <a:pt x="4198" y="1540"/>
                  </a:cubicBezTo>
                  <a:cubicBezTo>
                    <a:pt x="4215" y="1525"/>
                    <a:pt x="4234" y="1507"/>
                    <a:pt x="4254" y="1489"/>
                  </a:cubicBezTo>
                  <a:cubicBezTo>
                    <a:pt x="4276" y="1469"/>
                    <a:pt x="4299" y="1447"/>
                    <a:pt x="4321" y="1425"/>
                  </a:cubicBezTo>
                  <a:cubicBezTo>
                    <a:pt x="4321" y="1425"/>
                    <a:pt x="4321" y="1425"/>
                    <a:pt x="4321" y="1425"/>
                  </a:cubicBezTo>
                  <a:cubicBezTo>
                    <a:pt x="4333" y="1413"/>
                    <a:pt x="4345" y="1401"/>
                    <a:pt x="4356" y="1390"/>
                  </a:cubicBezTo>
                  <a:cubicBezTo>
                    <a:pt x="4375" y="1370"/>
                    <a:pt x="4392" y="1350"/>
                    <a:pt x="4408" y="1331"/>
                  </a:cubicBezTo>
                  <a:cubicBezTo>
                    <a:pt x="4424" y="1312"/>
                    <a:pt x="4438" y="1294"/>
                    <a:pt x="4449" y="1279"/>
                  </a:cubicBezTo>
                  <a:cubicBezTo>
                    <a:pt x="4453" y="1274"/>
                    <a:pt x="4456" y="1269"/>
                    <a:pt x="4460" y="1264"/>
                  </a:cubicBezTo>
                  <a:cubicBezTo>
                    <a:pt x="4463" y="1259"/>
                    <a:pt x="4467" y="1253"/>
                    <a:pt x="4470" y="1247"/>
                  </a:cubicBezTo>
                  <a:cubicBezTo>
                    <a:pt x="4472" y="1245"/>
                    <a:pt x="4474" y="1242"/>
                    <a:pt x="4475" y="1239"/>
                  </a:cubicBezTo>
                  <a:cubicBezTo>
                    <a:pt x="4477" y="1237"/>
                    <a:pt x="4478" y="1234"/>
                    <a:pt x="4480" y="1231"/>
                  </a:cubicBezTo>
                  <a:cubicBezTo>
                    <a:pt x="4483" y="1225"/>
                    <a:pt x="4486" y="1219"/>
                    <a:pt x="4489" y="1212"/>
                  </a:cubicBezTo>
                  <a:cubicBezTo>
                    <a:pt x="4492" y="1205"/>
                    <a:pt x="4495" y="1198"/>
                    <a:pt x="4497" y="1191"/>
                  </a:cubicBezTo>
                  <a:cubicBezTo>
                    <a:pt x="4500" y="1184"/>
                    <a:pt x="4503" y="1176"/>
                    <a:pt x="4505" y="1168"/>
                  </a:cubicBezTo>
                  <a:cubicBezTo>
                    <a:pt x="4514" y="1137"/>
                    <a:pt x="4520" y="1101"/>
                    <a:pt x="4520" y="1067"/>
                  </a:cubicBezTo>
                  <a:cubicBezTo>
                    <a:pt x="4519" y="1066"/>
                    <a:pt x="4519" y="1065"/>
                    <a:pt x="4519" y="1064"/>
                  </a:cubicBezTo>
                  <a:cubicBezTo>
                    <a:pt x="4519" y="1061"/>
                    <a:pt x="4519" y="1059"/>
                    <a:pt x="4519" y="1057"/>
                  </a:cubicBezTo>
                  <a:cubicBezTo>
                    <a:pt x="4519" y="1039"/>
                    <a:pt x="4517" y="1021"/>
                    <a:pt x="4514" y="1005"/>
                  </a:cubicBezTo>
                  <a:cubicBezTo>
                    <a:pt x="4509" y="975"/>
                    <a:pt x="4502" y="947"/>
                    <a:pt x="4493" y="922"/>
                  </a:cubicBezTo>
                  <a:cubicBezTo>
                    <a:pt x="4489" y="910"/>
                    <a:pt x="4485" y="899"/>
                    <a:pt x="4481" y="889"/>
                  </a:cubicBezTo>
                  <a:cubicBezTo>
                    <a:pt x="4477" y="879"/>
                    <a:pt x="4472" y="868"/>
                    <a:pt x="4468" y="861"/>
                  </a:cubicBezTo>
                  <a:cubicBezTo>
                    <a:pt x="4463" y="851"/>
                    <a:pt x="4457" y="839"/>
                    <a:pt x="4451" y="827"/>
                  </a:cubicBezTo>
                  <a:cubicBezTo>
                    <a:pt x="4441" y="808"/>
                    <a:pt x="4427" y="784"/>
                    <a:pt x="4413" y="760"/>
                  </a:cubicBezTo>
                  <a:cubicBezTo>
                    <a:pt x="4397" y="734"/>
                    <a:pt x="4380" y="708"/>
                    <a:pt x="4361" y="682"/>
                  </a:cubicBezTo>
                  <a:cubicBezTo>
                    <a:pt x="4361" y="682"/>
                    <a:pt x="4361" y="682"/>
                    <a:pt x="4361" y="682"/>
                  </a:cubicBezTo>
                  <a:cubicBezTo>
                    <a:pt x="4356" y="675"/>
                    <a:pt x="4352" y="668"/>
                    <a:pt x="4347" y="662"/>
                  </a:cubicBezTo>
                  <a:cubicBezTo>
                    <a:pt x="4342" y="655"/>
                    <a:pt x="4337" y="648"/>
                    <a:pt x="4332" y="642"/>
                  </a:cubicBezTo>
                  <a:cubicBezTo>
                    <a:pt x="4316" y="620"/>
                    <a:pt x="4300" y="599"/>
                    <a:pt x="4285" y="580"/>
                  </a:cubicBezTo>
                  <a:cubicBezTo>
                    <a:pt x="4278" y="571"/>
                    <a:pt x="4271" y="562"/>
                    <a:pt x="4264" y="554"/>
                  </a:cubicBezTo>
                  <a:cubicBezTo>
                    <a:pt x="4258" y="545"/>
                    <a:pt x="4252" y="537"/>
                    <a:pt x="4247" y="531"/>
                  </a:cubicBezTo>
                  <a:cubicBezTo>
                    <a:pt x="4239" y="521"/>
                    <a:pt x="4234" y="513"/>
                    <a:pt x="4226" y="502"/>
                  </a:cubicBezTo>
                  <a:cubicBezTo>
                    <a:pt x="4200" y="468"/>
                    <a:pt x="4159" y="417"/>
                    <a:pt x="4118" y="372"/>
                  </a:cubicBezTo>
                  <a:cubicBezTo>
                    <a:pt x="4118" y="371"/>
                    <a:pt x="4117" y="370"/>
                    <a:pt x="4116" y="369"/>
                  </a:cubicBezTo>
                  <a:cubicBezTo>
                    <a:pt x="4115" y="368"/>
                    <a:pt x="4113" y="366"/>
                    <a:pt x="4112" y="364"/>
                  </a:cubicBezTo>
                  <a:cubicBezTo>
                    <a:pt x="4101" y="353"/>
                    <a:pt x="4090" y="341"/>
                    <a:pt x="4080" y="329"/>
                  </a:cubicBezTo>
                  <a:cubicBezTo>
                    <a:pt x="4060" y="309"/>
                    <a:pt x="4041" y="289"/>
                    <a:pt x="4023" y="272"/>
                  </a:cubicBezTo>
                  <a:cubicBezTo>
                    <a:pt x="4014" y="264"/>
                    <a:pt x="4006" y="256"/>
                    <a:pt x="3998" y="249"/>
                  </a:cubicBezTo>
                  <a:cubicBezTo>
                    <a:pt x="3990" y="242"/>
                    <a:pt x="3981" y="235"/>
                    <a:pt x="3974" y="230"/>
                  </a:cubicBezTo>
                  <a:cubicBezTo>
                    <a:pt x="3966" y="223"/>
                    <a:pt x="3956" y="215"/>
                    <a:pt x="3946" y="207"/>
                  </a:cubicBezTo>
                  <a:cubicBezTo>
                    <a:pt x="3929" y="193"/>
                    <a:pt x="3908" y="176"/>
                    <a:pt x="3886" y="160"/>
                  </a:cubicBezTo>
                  <a:cubicBezTo>
                    <a:pt x="3862" y="142"/>
                    <a:pt x="3836" y="123"/>
                    <a:pt x="3807" y="106"/>
                  </a:cubicBezTo>
                  <a:cubicBezTo>
                    <a:pt x="3807" y="106"/>
                    <a:pt x="3807" y="106"/>
                    <a:pt x="3807" y="106"/>
                  </a:cubicBezTo>
                  <a:cubicBezTo>
                    <a:pt x="3800" y="102"/>
                    <a:pt x="3792" y="98"/>
                    <a:pt x="3784" y="94"/>
                  </a:cubicBezTo>
                  <a:cubicBezTo>
                    <a:pt x="3781" y="92"/>
                    <a:pt x="3777" y="90"/>
                    <a:pt x="3773" y="88"/>
                  </a:cubicBezTo>
                  <a:cubicBezTo>
                    <a:pt x="3771" y="87"/>
                    <a:pt x="3769" y="86"/>
                    <a:pt x="3767" y="85"/>
                  </a:cubicBezTo>
                  <a:cubicBezTo>
                    <a:pt x="3765" y="84"/>
                    <a:pt x="3763" y="83"/>
                    <a:pt x="3762" y="82"/>
                  </a:cubicBezTo>
                  <a:cubicBezTo>
                    <a:pt x="3750" y="77"/>
                    <a:pt x="3738" y="71"/>
                    <a:pt x="3726" y="65"/>
                  </a:cubicBezTo>
                  <a:cubicBezTo>
                    <a:pt x="3715" y="60"/>
                    <a:pt x="3704" y="54"/>
                    <a:pt x="3693" y="49"/>
                  </a:cubicBezTo>
                  <a:cubicBezTo>
                    <a:pt x="3690" y="48"/>
                    <a:pt x="3687" y="46"/>
                    <a:pt x="3685" y="45"/>
                  </a:cubicBezTo>
                  <a:cubicBezTo>
                    <a:pt x="3682" y="44"/>
                    <a:pt x="3679" y="43"/>
                    <a:pt x="3677" y="41"/>
                  </a:cubicBezTo>
                  <a:cubicBezTo>
                    <a:pt x="3671" y="39"/>
                    <a:pt x="3666" y="37"/>
                    <a:pt x="3661" y="34"/>
                  </a:cubicBezTo>
                  <a:cubicBezTo>
                    <a:pt x="3651" y="30"/>
                    <a:pt x="3641" y="26"/>
                    <a:pt x="3633" y="22"/>
                  </a:cubicBezTo>
                  <a:cubicBezTo>
                    <a:pt x="3626" y="20"/>
                    <a:pt x="3620" y="18"/>
                    <a:pt x="3615" y="16"/>
                  </a:cubicBezTo>
                  <a:cubicBezTo>
                    <a:pt x="3609" y="13"/>
                    <a:pt x="3602" y="11"/>
                    <a:pt x="3595" y="10"/>
                  </a:cubicBezTo>
                  <a:cubicBezTo>
                    <a:pt x="3592" y="9"/>
                    <a:pt x="3589" y="8"/>
                    <a:pt x="3586" y="7"/>
                  </a:cubicBezTo>
                  <a:cubicBezTo>
                    <a:pt x="3583" y="6"/>
                    <a:pt x="3580" y="6"/>
                    <a:pt x="3576" y="5"/>
                  </a:cubicBezTo>
                  <a:cubicBezTo>
                    <a:pt x="3569" y="4"/>
                    <a:pt x="3562" y="3"/>
                    <a:pt x="3555" y="2"/>
                  </a:cubicBezTo>
                  <a:cubicBezTo>
                    <a:pt x="3551" y="1"/>
                    <a:pt x="3547" y="1"/>
                    <a:pt x="3544" y="1"/>
                  </a:cubicBezTo>
                  <a:cubicBezTo>
                    <a:pt x="3540" y="1"/>
                    <a:pt x="3536" y="1"/>
                    <a:pt x="3532" y="0"/>
                  </a:cubicBezTo>
                  <a:cubicBezTo>
                    <a:pt x="3528" y="0"/>
                    <a:pt x="3524" y="0"/>
                    <a:pt x="3520" y="0"/>
                  </a:cubicBezTo>
                  <a:cubicBezTo>
                    <a:pt x="3516" y="0"/>
                    <a:pt x="3512" y="0"/>
                    <a:pt x="3508" y="0"/>
                  </a:cubicBezTo>
                  <a:cubicBezTo>
                    <a:pt x="3504" y="1"/>
                    <a:pt x="3500" y="1"/>
                    <a:pt x="3496" y="1"/>
                  </a:cubicBezTo>
                  <a:cubicBezTo>
                    <a:pt x="3491" y="1"/>
                    <a:pt x="3487" y="1"/>
                    <a:pt x="3483" y="2"/>
                  </a:cubicBezTo>
                  <a:cubicBezTo>
                    <a:pt x="3475" y="3"/>
                    <a:pt x="3467" y="4"/>
                    <a:pt x="3459" y="5"/>
                  </a:cubicBezTo>
                  <a:cubicBezTo>
                    <a:pt x="3452" y="6"/>
                    <a:pt x="3452" y="6"/>
                    <a:pt x="3452" y="6"/>
                  </a:cubicBezTo>
                  <a:cubicBezTo>
                    <a:pt x="3446" y="7"/>
                    <a:pt x="3446" y="7"/>
                    <a:pt x="3446" y="7"/>
                  </a:cubicBezTo>
                  <a:cubicBezTo>
                    <a:pt x="3434" y="10"/>
                    <a:pt x="3434" y="10"/>
                    <a:pt x="3434" y="10"/>
                  </a:cubicBezTo>
                  <a:cubicBezTo>
                    <a:pt x="3430" y="11"/>
                    <a:pt x="3426" y="11"/>
                    <a:pt x="3422" y="12"/>
                  </a:cubicBezTo>
                  <a:cubicBezTo>
                    <a:pt x="3418" y="13"/>
                    <a:pt x="3414" y="14"/>
                    <a:pt x="3410" y="15"/>
                  </a:cubicBezTo>
                  <a:cubicBezTo>
                    <a:pt x="3409" y="15"/>
                    <a:pt x="3408" y="16"/>
                    <a:pt x="3407" y="16"/>
                  </a:cubicBezTo>
                  <a:cubicBezTo>
                    <a:pt x="3405" y="16"/>
                    <a:pt x="3403" y="17"/>
                    <a:pt x="3401" y="18"/>
                  </a:cubicBezTo>
                  <a:cubicBezTo>
                    <a:pt x="3393" y="20"/>
                    <a:pt x="3385" y="22"/>
                    <a:pt x="3377" y="24"/>
                  </a:cubicBezTo>
                  <a:cubicBezTo>
                    <a:pt x="3369" y="26"/>
                    <a:pt x="3361" y="29"/>
                    <a:pt x="3354" y="32"/>
                  </a:cubicBezTo>
                  <a:cubicBezTo>
                    <a:pt x="3347" y="34"/>
                    <a:pt x="3340" y="36"/>
                    <a:pt x="3333" y="38"/>
                  </a:cubicBezTo>
                  <a:cubicBezTo>
                    <a:pt x="3326" y="41"/>
                    <a:pt x="3320" y="43"/>
                    <a:pt x="3314" y="46"/>
                  </a:cubicBezTo>
                  <a:cubicBezTo>
                    <a:pt x="3301" y="51"/>
                    <a:pt x="3289" y="55"/>
                    <a:pt x="3277" y="60"/>
                  </a:cubicBezTo>
                  <a:cubicBezTo>
                    <a:pt x="3266" y="65"/>
                    <a:pt x="3255" y="69"/>
                    <a:pt x="3246" y="74"/>
                  </a:cubicBezTo>
                  <a:cubicBezTo>
                    <a:pt x="3236" y="78"/>
                    <a:pt x="3226" y="83"/>
                    <a:pt x="3219" y="87"/>
                  </a:cubicBezTo>
                  <a:cubicBezTo>
                    <a:pt x="3210" y="92"/>
                    <a:pt x="3198" y="98"/>
                    <a:pt x="3186" y="104"/>
                  </a:cubicBezTo>
                  <a:cubicBezTo>
                    <a:pt x="3167" y="113"/>
                    <a:pt x="3143" y="126"/>
                    <a:pt x="3119" y="138"/>
                  </a:cubicBezTo>
                  <a:cubicBezTo>
                    <a:pt x="3113" y="142"/>
                    <a:pt x="3106" y="145"/>
                    <a:pt x="3099" y="148"/>
                  </a:cubicBezTo>
                  <a:cubicBezTo>
                    <a:pt x="3093" y="152"/>
                    <a:pt x="3086" y="156"/>
                    <a:pt x="3079" y="159"/>
                  </a:cubicBezTo>
                  <a:cubicBezTo>
                    <a:pt x="3066" y="166"/>
                    <a:pt x="3052" y="174"/>
                    <a:pt x="3038" y="181"/>
                  </a:cubicBezTo>
                  <a:cubicBezTo>
                    <a:pt x="3038" y="181"/>
                    <a:pt x="3038" y="181"/>
                    <a:pt x="3038" y="181"/>
                  </a:cubicBezTo>
                  <a:cubicBezTo>
                    <a:pt x="3023" y="188"/>
                    <a:pt x="3009" y="196"/>
                    <a:pt x="2995" y="203"/>
                  </a:cubicBezTo>
                  <a:cubicBezTo>
                    <a:pt x="2971" y="216"/>
                    <a:pt x="2948" y="227"/>
                    <a:pt x="2927" y="238"/>
                  </a:cubicBezTo>
                  <a:cubicBezTo>
                    <a:pt x="2906" y="249"/>
                    <a:pt x="2887" y="258"/>
                    <a:pt x="2871" y="266"/>
                  </a:cubicBezTo>
                  <a:cubicBezTo>
                    <a:pt x="2860" y="271"/>
                    <a:pt x="2851" y="275"/>
                    <a:pt x="2838" y="281"/>
                  </a:cubicBezTo>
                  <a:cubicBezTo>
                    <a:pt x="2819" y="290"/>
                    <a:pt x="2795" y="303"/>
                    <a:pt x="2769" y="317"/>
                  </a:cubicBezTo>
                  <a:cubicBezTo>
                    <a:pt x="2744" y="331"/>
                    <a:pt x="2717" y="346"/>
                    <a:pt x="2690" y="361"/>
                  </a:cubicBezTo>
                  <a:cubicBezTo>
                    <a:pt x="2689" y="362"/>
                    <a:pt x="2688" y="363"/>
                    <a:pt x="2687" y="363"/>
                  </a:cubicBezTo>
                  <a:cubicBezTo>
                    <a:pt x="2686" y="364"/>
                    <a:pt x="2684" y="365"/>
                    <a:pt x="2682" y="366"/>
                  </a:cubicBezTo>
                  <a:cubicBezTo>
                    <a:pt x="2668" y="374"/>
                    <a:pt x="2655" y="382"/>
                    <a:pt x="2642" y="390"/>
                  </a:cubicBezTo>
                  <a:cubicBezTo>
                    <a:pt x="2618" y="405"/>
                    <a:pt x="2595" y="419"/>
                    <a:pt x="2574" y="432"/>
                  </a:cubicBezTo>
                  <a:cubicBezTo>
                    <a:pt x="2564" y="439"/>
                    <a:pt x="2554" y="445"/>
                    <a:pt x="2546" y="450"/>
                  </a:cubicBezTo>
                  <a:cubicBezTo>
                    <a:pt x="2537" y="456"/>
                    <a:pt x="2528" y="463"/>
                    <a:pt x="2522" y="467"/>
                  </a:cubicBezTo>
                  <a:cubicBezTo>
                    <a:pt x="2514" y="473"/>
                    <a:pt x="2503" y="481"/>
                    <a:pt x="2492" y="488"/>
                  </a:cubicBezTo>
                  <a:cubicBezTo>
                    <a:pt x="2475" y="499"/>
                    <a:pt x="2453" y="514"/>
                    <a:pt x="2430" y="528"/>
                  </a:cubicBezTo>
                  <a:cubicBezTo>
                    <a:pt x="2406" y="543"/>
                    <a:pt x="2379" y="559"/>
                    <a:pt x="2352" y="575"/>
                  </a:cubicBezTo>
                  <a:cubicBezTo>
                    <a:pt x="2352" y="575"/>
                    <a:pt x="2352" y="575"/>
                    <a:pt x="2352" y="575"/>
                  </a:cubicBezTo>
                  <a:cubicBezTo>
                    <a:pt x="2339" y="583"/>
                    <a:pt x="2324" y="591"/>
                    <a:pt x="2311" y="599"/>
                  </a:cubicBezTo>
                  <a:cubicBezTo>
                    <a:pt x="2265" y="626"/>
                    <a:pt x="2221" y="649"/>
                    <a:pt x="2189" y="664"/>
                  </a:cubicBezTo>
                  <a:cubicBezTo>
                    <a:pt x="2178" y="670"/>
                    <a:pt x="2169" y="674"/>
                    <a:pt x="2157" y="680"/>
                  </a:cubicBezTo>
                  <a:cubicBezTo>
                    <a:pt x="2138" y="689"/>
                    <a:pt x="2114" y="701"/>
                    <a:pt x="2089" y="715"/>
                  </a:cubicBezTo>
                  <a:cubicBezTo>
                    <a:pt x="2063" y="729"/>
                    <a:pt x="2036" y="743"/>
                    <a:pt x="2009" y="757"/>
                  </a:cubicBezTo>
                  <a:cubicBezTo>
                    <a:pt x="2007" y="759"/>
                    <a:pt x="2007" y="759"/>
                    <a:pt x="2007" y="759"/>
                  </a:cubicBezTo>
                  <a:cubicBezTo>
                    <a:pt x="2005" y="760"/>
                    <a:pt x="2003" y="761"/>
                    <a:pt x="2001" y="762"/>
                  </a:cubicBezTo>
                  <a:cubicBezTo>
                    <a:pt x="1998" y="764"/>
                    <a:pt x="1994" y="765"/>
                    <a:pt x="1991" y="767"/>
                  </a:cubicBezTo>
                  <a:cubicBezTo>
                    <a:pt x="1981" y="773"/>
                    <a:pt x="1981" y="773"/>
                    <a:pt x="1981" y="773"/>
                  </a:cubicBezTo>
                  <a:cubicBezTo>
                    <a:pt x="1974" y="776"/>
                    <a:pt x="1967" y="780"/>
                    <a:pt x="1960" y="783"/>
                  </a:cubicBezTo>
                  <a:cubicBezTo>
                    <a:pt x="1937" y="796"/>
                    <a:pt x="1912" y="808"/>
                    <a:pt x="1891" y="820"/>
                  </a:cubicBezTo>
                  <a:cubicBezTo>
                    <a:pt x="1880" y="825"/>
                    <a:pt x="1871" y="830"/>
                    <a:pt x="1862" y="835"/>
                  </a:cubicBezTo>
                  <a:cubicBezTo>
                    <a:pt x="1853" y="840"/>
                    <a:pt x="1843" y="846"/>
                    <a:pt x="1836" y="849"/>
                  </a:cubicBezTo>
                  <a:cubicBezTo>
                    <a:pt x="1828" y="854"/>
                    <a:pt x="1817" y="860"/>
                    <a:pt x="1805" y="866"/>
                  </a:cubicBezTo>
                  <a:cubicBezTo>
                    <a:pt x="1796" y="871"/>
                    <a:pt x="1786" y="876"/>
                    <a:pt x="1775" y="881"/>
                  </a:cubicBezTo>
                  <a:cubicBezTo>
                    <a:pt x="1769" y="884"/>
                    <a:pt x="1763" y="886"/>
                    <a:pt x="1758" y="889"/>
                  </a:cubicBezTo>
                  <a:cubicBezTo>
                    <a:pt x="1752" y="891"/>
                    <a:pt x="1746" y="894"/>
                    <a:pt x="1740" y="896"/>
                  </a:cubicBezTo>
                  <a:cubicBezTo>
                    <a:pt x="1734" y="898"/>
                    <a:pt x="1727" y="901"/>
                    <a:pt x="1720" y="903"/>
                  </a:cubicBezTo>
                  <a:cubicBezTo>
                    <a:pt x="1714" y="905"/>
                    <a:pt x="1707" y="908"/>
                    <a:pt x="1700" y="910"/>
                  </a:cubicBezTo>
                  <a:cubicBezTo>
                    <a:pt x="1687" y="913"/>
                    <a:pt x="1673" y="917"/>
                    <a:pt x="1659" y="918"/>
                  </a:cubicBezTo>
                  <a:cubicBezTo>
                    <a:pt x="1659" y="918"/>
                    <a:pt x="1659" y="918"/>
                    <a:pt x="1659" y="918"/>
                  </a:cubicBezTo>
                  <a:cubicBezTo>
                    <a:pt x="1652" y="919"/>
                    <a:pt x="1644" y="920"/>
                    <a:pt x="1637" y="921"/>
                  </a:cubicBezTo>
                  <a:cubicBezTo>
                    <a:pt x="1629" y="921"/>
                    <a:pt x="1621" y="922"/>
                    <a:pt x="1614" y="922"/>
                  </a:cubicBezTo>
                  <a:cubicBezTo>
                    <a:pt x="1587" y="923"/>
                    <a:pt x="1561" y="923"/>
                    <a:pt x="1537" y="925"/>
                  </a:cubicBezTo>
                  <a:cubicBezTo>
                    <a:pt x="1531" y="925"/>
                    <a:pt x="1525" y="925"/>
                    <a:pt x="1519" y="925"/>
                  </a:cubicBezTo>
                  <a:cubicBezTo>
                    <a:pt x="1514" y="926"/>
                    <a:pt x="1509" y="926"/>
                    <a:pt x="1504" y="926"/>
                  </a:cubicBezTo>
                  <a:cubicBezTo>
                    <a:pt x="1499" y="926"/>
                    <a:pt x="1494" y="926"/>
                    <a:pt x="1490" y="926"/>
                  </a:cubicBezTo>
                  <a:cubicBezTo>
                    <a:pt x="1485" y="925"/>
                    <a:pt x="1481" y="925"/>
                    <a:pt x="1477" y="925"/>
                  </a:cubicBezTo>
                  <a:cubicBezTo>
                    <a:pt x="1471" y="925"/>
                    <a:pt x="1465" y="924"/>
                    <a:pt x="1460" y="924"/>
                  </a:cubicBezTo>
                  <a:cubicBezTo>
                    <a:pt x="1455" y="923"/>
                    <a:pt x="1449" y="923"/>
                    <a:pt x="1443" y="922"/>
                  </a:cubicBezTo>
                  <a:cubicBezTo>
                    <a:pt x="1438" y="922"/>
                    <a:pt x="1432" y="921"/>
                    <a:pt x="1426" y="921"/>
                  </a:cubicBezTo>
                  <a:cubicBezTo>
                    <a:pt x="1421" y="920"/>
                    <a:pt x="1415" y="920"/>
                    <a:pt x="1408" y="919"/>
                  </a:cubicBezTo>
                  <a:cubicBezTo>
                    <a:pt x="1396" y="918"/>
                    <a:pt x="1382" y="916"/>
                    <a:pt x="1368" y="915"/>
                  </a:cubicBezTo>
                  <a:cubicBezTo>
                    <a:pt x="1354" y="914"/>
                    <a:pt x="1339" y="912"/>
                    <a:pt x="1324" y="910"/>
                  </a:cubicBezTo>
                  <a:cubicBezTo>
                    <a:pt x="1309" y="909"/>
                    <a:pt x="1294" y="907"/>
                    <a:pt x="1279" y="905"/>
                  </a:cubicBezTo>
                  <a:cubicBezTo>
                    <a:pt x="1278" y="905"/>
                    <a:pt x="1277" y="905"/>
                    <a:pt x="1276" y="905"/>
                  </a:cubicBezTo>
                  <a:cubicBezTo>
                    <a:pt x="1274" y="905"/>
                    <a:pt x="1272" y="904"/>
                    <a:pt x="1270" y="904"/>
                  </a:cubicBezTo>
                  <a:cubicBezTo>
                    <a:pt x="1254" y="902"/>
                    <a:pt x="1238" y="901"/>
                    <a:pt x="1223" y="899"/>
                  </a:cubicBezTo>
                  <a:cubicBezTo>
                    <a:pt x="1209" y="898"/>
                    <a:pt x="1196" y="896"/>
                    <a:pt x="1182" y="895"/>
                  </a:cubicBezTo>
                  <a:cubicBezTo>
                    <a:pt x="1169" y="894"/>
                    <a:pt x="1156" y="893"/>
                    <a:pt x="1143" y="892"/>
                  </a:cubicBezTo>
                  <a:cubicBezTo>
                    <a:pt x="1131" y="892"/>
                    <a:pt x="1120" y="891"/>
                    <a:pt x="1109" y="891"/>
                  </a:cubicBezTo>
                  <a:cubicBezTo>
                    <a:pt x="1099" y="891"/>
                    <a:pt x="1087" y="891"/>
                    <a:pt x="1079" y="891"/>
                  </a:cubicBezTo>
                  <a:cubicBezTo>
                    <a:pt x="1069" y="891"/>
                    <a:pt x="1055" y="892"/>
                    <a:pt x="1042" y="892"/>
                  </a:cubicBezTo>
                  <a:cubicBezTo>
                    <a:pt x="1031" y="892"/>
                    <a:pt x="1019" y="893"/>
                    <a:pt x="1006" y="893"/>
                  </a:cubicBezTo>
                  <a:cubicBezTo>
                    <a:pt x="999" y="893"/>
                    <a:pt x="993" y="894"/>
                    <a:pt x="986" y="894"/>
                  </a:cubicBezTo>
                  <a:cubicBezTo>
                    <a:pt x="982" y="894"/>
                    <a:pt x="979" y="895"/>
                    <a:pt x="976" y="895"/>
                  </a:cubicBezTo>
                  <a:cubicBezTo>
                    <a:pt x="972" y="895"/>
                    <a:pt x="969" y="895"/>
                    <a:pt x="966" y="896"/>
                  </a:cubicBezTo>
                  <a:cubicBezTo>
                    <a:pt x="937" y="898"/>
                    <a:pt x="906" y="900"/>
                    <a:pt x="874" y="902"/>
                  </a:cubicBezTo>
                  <a:cubicBezTo>
                    <a:pt x="874" y="902"/>
                    <a:pt x="874" y="902"/>
                    <a:pt x="874" y="902"/>
                  </a:cubicBezTo>
                  <a:cubicBezTo>
                    <a:pt x="858" y="903"/>
                    <a:pt x="841" y="904"/>
                    <a:pt x="825" y="905"/>
                  </a:cubicBezTo>
                  <a:cubicBezTo>
                    <a:pt x="798" y="908"/>
                    <a:pt x="772" y="910"/>
                    <a:pt x="748" y="913"/>
                  </a:cubicBezTo>
                  <a:cubicBezTo>
                    <a:pt x="736" y="914"/>
                    <a:pt x="724" y="916"/>
                    <a:pt x="714" y="917"/>
                  </a:cubicBezTo>
                  <a:cubicBezTo>
                    <a:pt x="703" y="919"/>
                    <a:pt x="693" y="920"/>
                    <a:pt x="684" y="922"/>
                  </a:cubicBezTo>
                  <a:cubicBezTo>
                    <a:pt x="671" y="924"/>
                    <a:pt x="661" y="925"/>
                    <a:pt x="647" y="928"/>
                  </a:cubicBezTo>
                  <a:cubicBezTo>
                    <a:pt x="636" y="931"/>
                    <a:pt x="623" y="934"/>
                    <a:pt x="610" y="938"/>
                  </a:cubicBezTo>
                  <a:cubicBezTo>
                    <a:pt x="603" y="940"/>
                    <a:pt x="596" y="943"/>
                    <a:pt x="589" y="945"/>
                  </a:cubicBezTo>
                  <a:cubicBezTo>
                    <a:pt x="582" y="947"/>
                    <a:pt x="575" y="950"/>
                    <a:pt x="568" y="953"/>
                  </a:cubicBezTo>
                  <a:cubicBezTo>
                    <a:pt x="538" y="966"/>
                    <a:pt x="508" y="982"/>
                    <a:pt x="481" y="1000"/>
                  </a:cubicBezTo>
                  <a:cubicBezTo>
                    <a:pt x="480" y="1001"/>
                    <a:pt x="479" y="1001"/>
                    <a:pt x="478" y="1002"/>
                  </a:cubicBezTo>
                  <a:cubicBezTo>
                    <a:pt x="476" y="1003"/>
                    <a:pt x="475" y="1005"/>
                    <a:pt x="473" y="1006"/>
                  </a:cubicBezTo>
                  <a:cubicBezTo>
                    <a:pt x="466" y="1011"/>
                    <a:pt x="459" y="1016"/>
                    <a:pt x="452" y="1021"/>
                  </a:cubicBezTo>
                  <a:cubicBezTo>
                    <a:pt x="446" y="1026"/>
                    <a:pt x="439" y="1031"/>
                    <a:pt x="433" y="1036"/>
                  </a:cubicBezTo>
                  <a:cubicBezTo>
                    <a:pt x="410" y="1056"/>
                    <a:pt x="390" y="1075"/>
                    <a:pt x="372" y="1094"/>
                  </a:cubicBezTo>
                  <a:cubicBezTo>
                    <a:pt x="364" y="1103"/>
                    <a:pt x="356" y="1112"/>
                    <a:pt x="349" y="1120"/>
                  </a:cubicBezTo>
                  <a:cubicBezTo>
                    <a:pt x="342" y="1129"/>
                    <a:pt x="335" y="1138"/>
                    <a:pt x="330" y="1144"/>
                  </a:cubicBezTo>
                  <a:cubicBezTo>
                    <a:pt x="324" y="1153"/>
                    <a:pt x="316" y="1163"/>
                    <a:pt x="308" y="1174"/>
                  </a:cubicBezTo>
                  <a:cubicBezTo>
                    <a:pt x="302" y="1183"/>
                    <a:pt x="295" y="1193"/>
                    <a:pt x="287" y="1203"/>
                  </a:cubicBezTo>
                  <a:cubicBezTo>
                    <a:pt x="280" y="1213"/>
                    <a:pt x="272" y="1225"/>
                    <a:pt x="264" y="1236"/>
                  </a:cubicBezTo>
                  <a:cubicBezTo>
                    <a:pt x="247" y="1260"/>
                    <a:pt x="230" y="1286"/>
                    <a:pt x="212" y="1312"/>
                  </a:cubicBezTo>
                  <a:cubicBezTo>
                    <a:pt x="213" y="1313"/>
                    <a:pt x="213" y="1313"/>
                    <a:pt x="213" y="1313"/>
                  </a:cubicBezTo>
                  <a:cubicBezTo>
                    <a:pt x="222" y="1300"/>
                    <a:pt x="232" y="1286"/>
                    <a:pt x="241" y="1273"/>
                  </a:cubicBezTo>
                  <a:cubicBezTo>
                    <a:pt x="272" y="1228"/>
                    <a:pt x="305" y="1190"/>
                    <a:pt x="331" y="1164"/>
                  </a:cubicBezTo>
                  <a:cubicBezTo>
                    <a:pt x="335" y="1160"/>
                    <a:pt x="339" y="1156"/>
                    <a:pt x="343" y="1152"/>
                  </a:cubicBezTo>
                  <a:cubicBezTo>
                    <a:pt x="348" y="1148"/>
                    <a:pt x="352" y="1144"/>
                    <a:pt x="357" y="1139"/>
                  </a:cubicBezTo>
                  <a:cubicBezTo>
                    <a:pt x="365" y="1131"/>
                    <a:pt x="374" y="1123"/>
                    <a:pt x="383" y="1113"/>
                  </a:cubicBezTo>
                  <a:cubicBezTo>
                    <a:pt x="388" y="1109"/>
                    <a:pt x="393" y="1104"/>
                    <a:pt x="399" y="1099"/>
                  </a:cubicBezTo>
                  <a:cubicBezTo>
                    <a:pt x="401" y="1097"/>
                    <a:pt x="404" y="1095"/>
                    <a:pt x="406" y="1092"/>
                  </a:cubicBezTo>
                  <a:cubicBezTo>
                    <a:pt x="409" y="1090"/>
                    <a:pt x="412" y="1087"/>
                    <a:pt x="415" y="1085"/>
                  </a:cubicBezTo>
                  <a:cubicBezTo>
                    <a:pt x="426" y="1075"/>
                    <a:pt x="438" y="1065"/>
                    <a:pt x="450" y="1055"/>
                  </a:cubicBezTo>
                  <a:cubicBezTo>
                    <a:pt x="456" y="1051"/>
                    <a:pt x="462" y="1046"/>
                    <a:pt x="469" y="1041"/>
                  </a:cubicBezTo>
                  <a:cubicBezTo>
                    <a:pt x="475" y="1036"/>
                    <a:pt x="481" y="1032"/>
                    <a:pt x="488" y="1027"/>
                  </a:cubicBezTo>
                  <a:cubicBezTo>
                    <a:pt x="489" y="1026"/>
                    <a:pt x="491" y="1025"/>
                    <a:pt x="493" y="1024"/>
                  </a:cubicBezTo>
                  <a:cubicBezTo>
                    <a:pt x="494" y="1023"/>
                    <a:pt x="495" y="1022"/>
                    <a:pt x="496" y="1022"/>
                  </a:cubicBezTo>
                  <a:cubicBezTo>
                    <a:pt x="503" y="1017"/>
                    <a:pt x="510" y="1013"/>
                    <a:pt x="516" y="1008"/>
                  </a:cubicBezTo>
                  <a:cubicBezTo>
                    <a:pt x="523" y="1004"/>
                    <a:pt x="530" y="1000"/>
                    <a:pt x="537" y="996"/>
                  </a:cubicBezTo>
                  <a:cubicBezTo>
                    <a:pt x="562" y="982"/>
                    <a:pt x="588" y="970"/>
                    <a:pt x="611" y="960"/>
                  </a:cubicBezTo>
                  <a:cubicBezTo>
                    <a:pt x="617" y="958"/>
                    <a:pt x="623" y="956"/>
                    <a:pt x="628" y="954"/>
                  </a:cubicBezTo>
                  <a:cubicBezTo>
                    <a:pt x="633" y="952"/>
                    <a:pt x="639" y="950"/>
                    <a:pt x="644" y="948"/>
                  </a:cubicBezTo>
                  <a:cubicBezTo>
                    <a:pt x="654" y="945"/>
                    <a:pt x="665" y="940"/>
                    <a:pt x="673" y="938"/>
                  </a:cubicBezTo>
                  <a:cubicBezTo>
                    <a:pt x="677" y="936"/>
                    <a:pt x="683" y="935"/>
                    <a:pt x="689" y="933"/>
                  </a:cubicBezTo>
                  <a:cubicBezTo>
                    <a:pt x="695" y="931"/>
                    <a:pt x="701" y="929"/>
                    <a:pt x="708" y="927"/>
                  </a:cubicBezTo>
                  <a:cubicBezTo>
                    <a:pt x="718" y="925"/>
                    <a:pt x="730" y="922"/>
                    <a:pt x="743" y="920"/>
                  </a:cubicBezTo>
                  <a:cubicBezTo>
                    <a:pt x="749" y="918"/>
                    <a:pt x="756" y="917"/>
                    <a:pt x="762" y="916"/>
                  </a:cubicBezTo>
                  <a:cubicBezTo>
                    <a:pt x="769" y="915"/>
                    <a:pt x="776" y="914"/>
                    <a:pt x="782" y="913"/>
                  </a:cubicBezTo>
                  <a:cubicBezTo>
                    <a:pt x="812" y="909"/>
                    <a:pt x="843" y="906"/>
                    <a:pt x="874" y="903"/>
                  </a:cubicBezTo>
                  <a:cubicBezTo>
                    <a:pt x="874" y="903"/>
                    <a:pt x="874" y="903"/>
                    <a:pt x="874" y="903"/>
                  </a:cubicBezTo>
                  <a:cubicBezTo>
                    <a:pt x="891" y="902"/>
                    <a:pt x="907" y="901"/>
                    <a:pt x="923" y="901"/>
                  </a:cubicBezTo>
                  <a:cubicBezTo>
                    <a:pt x="936" y="900"/>
                    <a:pt x="949" y="900"/>
                    <a:pt x="962" y="899"/>
                  </a:cubicBezTo>
                  <a:cubicBezTo>
                    <a:pt x="969" y="899"/>
                    <a:pt x="975" y="899"/>
                    <a:pt x="981" y="899"/>
                  </a:cubicBezTo>
                  <a:cubicBezTo>
                    <a:pt x="987" y="899"/>
                    <a:pt x="994" y="899"/>
                    <a:pt x="1000" y="899"/>
                  </a:cubicBezTo>
                  <a:cubicBezTo>
                    <a:pt x="1024" y="899"/>
                    <a:pt x="1046" y="901"/>
                    <a:pt x="1064" y="903"/>
                  </a:cubicBezTo>
                  <a:cubicBezTo>
                    <a:pt x="1076" y="905"/>
                    <a:pt x="1086" y="907"/>
                    <a:pt x="1100" y="908"/>
                  </a:cubicBezTo>
                  <a:cubicBezTo>
                    <a:pt x="1122" y="911"/>
                    <a:pt x="1149" y="915"/>
                    <a:pt x="1177" y="919"/>
                  </a:cubicBezTo>
                  <a:cubicBezTo>
                    <a:pt x="1206" y="923"/>
                    <a:pt x="1237" y="927"/>
                    <a:pt x="1267" y="930"/>
                  </a:cubicBezTo>
                  <a:cubicBezTo>
                    <a:pt x="1269" y="930"/>
                    <a:pt x="1271" y="930"/>
                    <a:pt x="1273" y="931"/>
                  </a:cubicBezTo>
                  <a:cubicBezTo>
                    <a:pt x="1274" y="931"/>
                    <a:pt x="1275" y="931"/>
                    <a:pt x="1277" y="931"/>
                  </a:cubicBezTo>
                  <a:cubicBezTo>
                    <a:pt x="1292" y="933"/>
                    <a:pt x="1308" y="934"/>
                    <a:pt x="1323" y="936"/>
                  </a:cubicBezTo>
                  <a:cubicBezTo>
                    <a:pt x="1337" y="937"/>
                    <a:pt x="1350" y="938"/>
                    <a:pt x="1364" y="939"/>
                  </a:cubicBezTo>
                  <a:cubicBezTo>
                    <a:pt x="1377" y="939"/>
                    <a:pt x="1389" y="940"/>
                    <a:pt x="1401" y="940"/>
                  </a:cubicBezTo>
                  <a:cubicBezTo>
                    <a:pt x="1413" y="940"/>
                    <a:pt x="1424" y="941"/>
                    <a:pt x="1434" y="940"/>
                  </a:cubicBezTo>
                  <a:cubicBezTo>
                    <a:pt x="1445" y="940"/>
                    <a:pt x="1456" y="939"/>
                    <a:pt x="1463" y="938"/>
                  </a:cubicBezTo>
                  <a:cubicBezTo>
                    <a:pt x="1468" y="938"/>
                    <a:pt x="1474" y="937"/>
                    <a:pt x="1479" y="937"/>
                  </a:cubicBezTo>
                  <a:cubicBezTo>
                    <a:pt x="1485" y="936"/>
                    <a:pt x="1491" y="936"/>
                    <a:pt x="1498" y="935"/>
                  </a:cubicBezTo>
                  <a:cubicBezTo>
                    <a:pt x="1508" y="934"/>
                    <a:pt x="1519" y="932"/>
                    <a:pt x="1531" y="931"/>
                  </a:cubicBezTo>
                  <a:cubicBezTo>
                    <a:pt x="1538" y="930"/>
                    <a:pt x="1544" y="929"/>
                    <a:pt x="1551" y="929"/>
                  </a:cubicBezTo>
                  <a:cubicBezTo>
                    <a:pt x="1557" y="928"/>
                    <a:pt x="1564" y="927"/>
                    <a:pt x="1571" y="927"/>
                  </a:cubicBezTo>
                  <a:cubicBezTo>
                    <a:pt x="1586" y="926"/>
                    <a:pt x="1601" y="925"/>
                    <a:pt x="1616" y="924"/>
                  </a:cubicBezTo>
                  <a:cubicBezTo>
                    <a:pt x="1630" y="923"/>
                    <a:pt x="1645" y="922"/>
                    <a:pt x="1659" y="920"/>
                  </a:cubicBezTo>
                  <a:cubicBezTo>
                    <a:pt x="1659" y="920"/>
                    <a:pt x="1659" y="920"/>
                    <a:pt x="1659" y="920"/>
                  </a:cubicBezTo>
                  <a:cubicBezTo>
                    <a:pt x="1674" y="918"/>
                    <a:pt x="1688" y="915"/>
                    <a:pt x="1703" y="911"/>
                  </a:cubicBezTo>
                  <a:cubicBezTo>
                    <a:pt x="1750" y="898"/>
                    <a:pt x="1796" y="879"/>
                    <a:pt x="1829" y="867"/>
                  </a:cubicBezTo>
                  <a:cubicBezTo>
                    <a:pt x="1841" y="863"/>
                    <a:pt x="1850" y="860"/>
                    <a:pt x="1862" y="855"/>
                  </a:cubicBezTo>
                  <a:cubicBezTo>
                    <a:pt x="1872" y="851"/>
                    <a:pt x="1883" y="847"/>
                    <a:pt x="1895" y="842"/>
                  </a:cubicBezTo>
                  <a:cubicBezTo>
                    <a:pt x="1907" y="836"/>
                    <a:pt x="1920" y="831"/>
                    <a:pt x="1933" y="825"/>
                  </a:cubicBezTo>
                  <a:cubicBezTo>
                    <a:pt x="1946" y="819"/>
                    <a:pt x="1960" y="812"/>
                    <a:pt x="1973" y="805"/>
                  </a:cubicBezTo>
                  <a:cubicBezTo>
                    <a:pt x="1987" y="799"/>
                    <a:pt x="2000" y="792"/>
                    <a:pt x="2014" y="785"/>
                  </a:cubicBezTo>
                  <a:cubicBezTo>
                    <a:pt x="2019" y="782"/>
                    <a:pt x="2019" y="782"/>
                    <a:pt x="2019" y="782"/>
                  </a:cubicBezTo>
                  <a:cubicBezTo>
                    <a:pt x="2020" y="781"/>
                    <a:pt x="2021" y="781"/>
                    <a:pt x="2022" y="780"/>
                  </a:cubicBezTo>
                  <a:cubicBezTo>
                    <a:pt x="2036" y="773"/>
                    <a:pt x="2050" y="765"/>
                    <a:pt x="2063" y="758"/>
                  </a:cubicBezTo>
                  <a:cubicBezTo>
                    <a:pt x="2087" y="744"/>
                    <a:pt x="2110" y="730"/>
                    <a:pt x="2131" y="717"/>
                  </a:cubicBezTo>
                  <a:cubicBezTo>
                    <a:pt x="2141" y="711"/>
                    <a:pt x="2151" y="705"/>
                    <a:pt x="2159" y="699"/>
                  </a:cubicBezTo>
                  <a:cubicBezTo>
                    <a:pt x="2168" y="694"/>
                    <a:pt x="2177" y="687"/>
                    <a:pt x="2184" y="683"/>
                  </a:cubicBezTo>
                  <a:cubicBezTo>
                    <a:pt x="2192" y="677"/>
                    <a:pt x="2202" y="670"/>
                    <a:pt x="2213" y="663"/>
                  </a:cubicBezTo>
                  <a:cubicBezTo>
                    <a:pt x="2231" y="651"/>
                    <a:pt x="2253" y="637"/>
                    <a:pt x="2275" y="623"/>
                  </a:cubicBezTo>
                  <a:cubicBezTo>
                    <a:pt x="2300" y="608"/>
                    <a:pt x="2326" y="592"/>
                    <a:pt x="2353" y="576"/>
                  </a:cubicBezTo>
                  <a:cubicBezTo>
                    <a:pt x="2353" y="576"/>
                    <a:pt x="2353" y="576"/>
                    <a:pt x="2353" y="576"/>
                  </a:cubicBezTo>
                  <a:cubicBezTo>
                    <a:pt x="2367" y="568"/>
                    <a:pt x="2381" y="560"/>
                    <a:pt x="2395" y="552"/>
                  </a:cubicBezTo>
                  <a:cubicBezTo>
                    <a:pt x="2441" y="525"/>
                    <a:pt x="2485" y="501"/>
                    <a:pt x="2516" y="486"/>
                  </a:cubicBezTo>
                  <a:cubicBezTo>
                    <a:pt x="2527" y="480"/>
                    <a:pt x="2536" y="476"/>
                    <a:pt x="2548" y="470"/>
                  </a:cubicBezTo>
                  <a:cubicBezTo>
                    <a:pt x="2587" y="451"/>
                    <a:pt x="2643" y="419"/>
                    <a:pt x="2695" y="389"/>
                  </a:cubicBezTo>
                  <a:cubicBezTo>
                    <a:pt x="2697" y="388"/>
                    <a:pt x="2699" y="387"/>
                    <a:pt x="2700" y="386"/>
                  </a:cubicBezTo>
                  <a:cubicBezTo>
                    <a:pt x="2702" y="385"/>
                    <a:pt x="2703" y="384"/>
                    <a:pt x="2704" y="384"/>
                  </a:cubicBezTo>
                  <a:cubicBezTo>
                    <a:pt x="2717" y="376"/>
                    <a:pt x="2731" y="368"/>
                    <a:pt x="2744" y="360"/>
                  </a:cubicBezTo>
                  <a:cubicBezTo>
                    <a:pt x="2768" y="346"/>
                    <a:pt x="2791" y="332"/>
                    <a:pt x="2812" y="319"/>
                  </a:cubicBezTo>
                  <a:cubicBezTo>
                    <a:pt x="2822" y="312"/>
                    <a:pt x="2832" y="306"/>
                    <a:pt x="2840" y="301"/>
                  </a:cubicBezTo>
                  <a:cubicBezTo>
                    <a:pt x="2849" y="295"/>
                    <a:pt x="2858" y="289"/>
                    <a:pt x="2865" y="284"/>
                  </a:cubicBezTo>
                  <a:cubicBezTo>
                    <a:pt x="2873" y="279"/>
                    <a:pt x="2884" y="272"/>
                    <a:pt x="2895" y="265"/>
                  </a:cubicBezTo>
                  <a:cubicBezTo>
                    <a:pt x="2913" y="253"/>
                    <a:pt x="2935" y="239"/>
                    <a:pt x="2958" y="226"/>
                  </a:cubicBezTo>
                  <a:cubicBezTo>
                    <a:pt x="2971" y="219"/>
                    <a:pt x="2984" y="212"/>
                    <a:pt x="2997" y="204"/>
                  </a:cubicBezTo>
                  <a:cubicBezTo>
                    <a:pt x="3011" y="197"/>
                    <a:pt x="3025" y="189"/>
                    <a:pt x="3039" y="182"/>
                  </a:cubicBezTo>
                  <a:cubicBezTo>
                    <a:pt x="3039" y="182"/>
                    <a:pt x="3039" y="182"/>
                    <a:pt x="3039" y="182"/>
                  </a:cubicBezTo>
                  <a:cubicBezTo>
                    <a:pt x="3053" y="175"/>
                    <a:pt x="3068" y="167"/>
                    <a:pt x="3082" y="160"/>
                  </a:cubicBezTo>
                  <a:cubicBezTo>
                    <a:pt x="3130" y="136"/>
                    <a:pt x="3176" y="116"/>
                    <a:pt x="3211" y="105"/>
                  </a:cubicBezTo>
                  <a:cubicBezTo>
                    <a:pt x="3223" y="101"/>
                    <a:pt x="3232" y="98"/>
                    <a:pt x="3245" y="94"/>
                  </a:cubicBezTo>
                  <a:cubicBezTo>
                    <a:pt x="3255" y="90"/>
                    <a:pt x="3267" y="86"/>
                    <a:pt x="3279" y="82"/>
                  </a:cubicBezTo>
                  <a:cubicBezTo>
                    <a:pt x="3282" y="81"/>
                    <a:pt x="3285" y="80"/>
                    <a:pt x="3289" y="79"/>
                  </a:cubicBezTo>
                  <a:cubicBezTo>
                    <a:pt x="3292" y="78"/>
                    <a:pt x="3295" y="77"/>
                    <a:pt x="3299" y="76"/>
                  </a:cubicBezTo>
                  <a:cubicBezTo>
                    <a:pt x="3305" y="74"/>
                    <a:pt x="3312" y="71"/>
                    <a:pt x="3319" y="69"/>
                  </a:cubicBezTo>
                  <a:cubicBezTo>
                    <a:pt x="3326" y="67"/>
                    <a:pt x="3333" y="64"/>
                    <a:pt x="3340" y="62"/>
                  </a:cubicBezTo>
                  <a:cubicBezTo>
                    <a:pt x="3348" y="60"/>
                    <a:pt x="3355" y="58"/>
                    <a:pt x="3362" y="55"/>
                  </a:cubicBezTo>
                  <a:cubicBezTo>
                    <a:pt x="3370" y="53"/>
                    <a:pt x="3377" y="51"/>
                    <a:pt x="3385" y="49"/>
                  </a:cubicBezTo>
                  <a:cubicBezTo>
                    <a:pt x="3392" y="47"/>
                    <a:pt x="3400" y="45"/>
                    <a:pt x="3407" y="43"/>
                  </a:cubicBezTo>
                  <a:cubicBezTo>
                    <a:pt x="3409" y="42"/>
                    <a:pt x="3411" y="42"/>
                    <a:pt x="3413" y="41"/>
                  </a:cubicBezTo>
                  <a:cubicBezTo>
                    <a:pt x="3415" y="41"/>
                    <a:pt x="3416" y="41"/>
                    <a:pt x="3417" y="40"/>
                  </a:cubicBezTo>
                  <a:cubicBezTo>
                    <a:pt x="3425" y="38"/>
                    <a:pt x="3433" y="37"/>
                    <a:pt x="3441" y="35"/>
                  </a:cubicBezTo>
                  <a:cubicBezTo>
                    <a:pt x="3448" y="33"/>
                    <a:pt x="3456" y="31"/>
                    <a:pt x="3464" y="30"/>
                  </a:cubicBezTo>
                  <a:cubicBezTo>
                    <a:pt x="3471" y="29"/>
                    <a:pt x="3478" y="28"/>
                    <a:pt x="3485" y="27"/>
                  </a:cubicBezTo>
                  <a:cubicBezTo>
                    <a:pt x="3491" y="26"/>
                    <a:pt x="3491" y="26"/>
                    <a:pt x="3491" y="26"/>
                  </a:cubicBezTo>
                  <a:cubicBezTo>
                    <a:pt x="3496" y="25"/>
                    <a:pt x="3496" y="25"/>
                    <a:pt x="3496" y="25"/>
                  </a:cubicBezTo>
                  <a:cubicBezTo>
                    <a:pt x="3499" y="25"/>
                    <a:pt x="3503" y="25"/>
                    <a:pt x="3506" y="25"/>
                  </a:cubicBezTo>
                  <a:cubicBezTo>
                    <a:pt x="3520" y="23"/>
                    <a:pt x="3534" y="23"/>
                    <a:pt x="3547" y="23"/>
                  </a:cubicBezTo>
                  <a:cubicBezTo>
                    <a:pt x="3554" y="23"/>
                    <a:pt x="3560" y="24"/>
                    <a:pt x="3566" y="24"/>
                  </a:cubicBezTo>
                  <a:cubicBezTo>
                    <a:pt x="3572" y="24"/>
                    <a:pt x="3577" y="25"/>
                    <a:pt x="3583" y="26"/>
                  </a:cubicBezTo>
                  <a:cubicBezTo>
                    <a:pt x="3588" y="26"/>
                    <a:pt x="3594" y="27"/>
                    <a:pt x="3600" y="28"/>
                  </a:cubicBezTo>
                  <a:cubicBezTo>
                    <a:pt x="3605" y="28"/>
                    <a:pt x="3610" y="30"/>
                    <a:pt x="3614" y="31"/>
                  </a:cubicBezTo>
                  <a:cubicBezTo>
                    <a:pt x="3619" y="32"/>
                    <a:pt x="3625" y="33"/>
                    <a:pt x="3632" y="34"/>
                  </a:cubicBezTo>
                  <a:cubicBezTo>
                    <a:pt x="3638" y="36"/>
                    <a:pt x="3644" y="38"/>
                    <a:pt x="3651" y="40"/>
                  </a:cubicBezTo>
                  <a:cubicBezTo>
                    <a:pt x="3656" y="41"/>
                    <a:pt x="3662" y="43"/>
                    <a:pt x="3667" y="45"/>
                  </a:cubicBezTo>
                  <a:cubicBezTo>
                    <a:pt x="3673" y="47"/>
                    <a:pt x="3679" y="50"/>
                    <a:pt x="3685" y="52"/>
                  </a:cubicBezTo>
                  <a:cubicBezTo>
                    <a:pt x="3697" y="57"/>
                    <a:pt x="3709" y="62"/>
                    <a:pt x="3722" y="67"/>
                  </a:cubicBezTo>
                  <a:cubicBezTo>
                    <a:pt x="3735" y="73"/>
                    <a:pt x="3749" y="79"/>
                    <a:pt x="3762" y="85"/>
                  </a:cubicBezTo>
                  <a:cubicBezTo>
                    <a:pt x="3766" y="86"/>
                    <a:pt x="3770" y="88"/>
                    <a:pt x="3773" y="90"/>
                  </a:cubicBezTo>
                  <a:cubicBezTo>
                    <a:pt x="3777" y="92"/>
                    <a:pt x="3781" y="94"/>
                    <a:pt x="3785" y="96"/>
                  </a:cubicBezTo>
                  <a:cubicBezTo>
                    <a:pt x="3792" y="99"/>
                    <a:pt x="3799" y="103"/>
                    <a:pt x="3806" y="108"/>
                  </a:cubicBezTo>
                  <a:cubicBezTo>
                    <a:pt x="3806" y="108"/>
                    <a:pt x="3806" y="108"/>
                    <a:pt x="3806" y="108"/>
                  </a:cubicBezTo>
                  <a:cubicBezTo>
                    <a:pt x="3821" y="116"/>
                    <a:pt x="3835" y="126"/>
                    <a:pt x="3849" y="135"/>
                  </a:cubicBezTo>
                  <a:cubicBezTo>
                    <a:pt x="3894" y="168"/>
                    <a:pt x="3931" y="203"/>
                    <a:pt x="3955" y="229"/>
                  </a:cubicBezTo>
                  <a:cubicBezTo>
                    <a:pt x="3964" y="239"/>
                    <a:pt x="3970" y="246"/>
                    <a:pt x="3979" y="256"/>
                  </a:cubicBezTo>
                  <a:cubicBezTo>
                    <a:pt x="4008" y="289"/>
                    <a:pt x="4052" y="336"/>
                    <a:pt x="4093" y="382"/>
                  </a:cubicBezTo>
                  <a:cubicBezTo>
                    <a:pt x="4097" y="386"/>
                    <a:pt x="4097" y="386"/>
                    <a:pt x="4097" y="386"/>
                  </a:cubicBezTo>
                  <a:cubicBezTo>
                    <a:pt x="4098" y="387"/>
                    <a:pt x="4098" y="388"/>
                    <a:pt x="4099" y="389"/>
                  </a:cubicBezTo>
                  <a:cubicBezTo>
                    <a:pt x="4110" y="401"/>
                    <a:pt x="4120" y="413"/>
                    <a:pt x="4131" y="424"/>
                  </a:cubicBezTo>
                  <a:cubicBezTo>
                    <a:pt x="4149" y="445"/>
                    <a:pt x="4167" y="465"/>
                    <a:pt x="4184" y="483"/>
                  </a:cubicBezTo>
                  <a:cubicBezTo>
                    <a:pt x="4192" y="492"/>
                    <a:pt x="4200" y="500"/>
                    <a:pt x="4207" y="508"/>
                  </a:cubicBezTo>
                  <a:cubicBezTo>
                    <a:pt x="4214" y="515"/>
                    <a:pt x="4222" y="523"/>
                    <a:pt x="4228" y="529"/>
                  </a:cubicBezTo>
                  <a:cubicBezTo>
                    <a:pt x="4235" y="535"/>
                    <a:pt x="4244" y="544"/>
                    <a:pt x="4253" y="554"/>
                  </a:cubicBezTo>
                  <a:cubicBezTo>
                    <a:pt x="4268" y="569"/>
                    <a:pt x="4285" y="589"/>
                    <a:pt x="4303" y="609"/>
                  </a:cubicBezTo>
                  <a:cubicBezTo>
                    <a:pt x="4322" y="632"/>
                    <a:pt x="4342" y="656"/>
                    <a:pt x="4360" y="683"/>
                  </a:cubicBezTo>
                  <a:cubicBezTo>
                    <a:pt x="4360" y="683"/>
                    <a:pt x="4360" y="683"/>
                    <a:pt x="4360" y="683"/>
                  </a:cubicBezTo>
                  <a:cubicBezTo>
                    <a:pt x="4369" y="696"/>
                    <a:pt x="4379" y="710"/>
                    <a:pt x="4388" y="724"/>
                  </a:cubicBezTo>
                  <a:cubicBezTo>
                    <a:pt x="4402" y="747"/>
                    <a:pt x="4415" y="770"/>
                    <a:pt x="4426" y="792"/>
                  </a:cubicBezTo>
                  <a:cubicBezTo>
                    <a:pt x="4436" y="814"/>
                    <a:pt x="4444" y="835"/>
                    <a:pt x="4450" y="852"/>
                  </a:cubicBezTo>
                  <a:cubicBezTo>
                    <a:pt x="4452" y="858"/>
                    <a:pt x="4454" y="864"/>
                    <a:pt x="4456" y="869"/>
                  </a:cubicBezTo>
                  <a:cubicBezTo>
                    <a:pt x="4457" y="875"/>
                    <a:pt x="4459" y="880"/>
                    <a:pt x="4461" y="887"/>
                  </a:cubicBezTo>
                  <a:cubicBezTo>
                    <a:pt x="4467" y="908"/>
                    <a:pt x="4475" y="935"/>
                    <a:pt x="4481" y="964"/>
                  </a:cubicBezTo>
                  <a:cubicBezTo>
                    <a:pt x="4487" y="993"/>
                    <a:pt x="4492" y="1026"/>
                    <a:pt x="4493" y="1058"/>
                  </a:cubicBezTo>
                  <a:cubicBezTo>
                    <a:pt x="4493" y="1060"/>
                    <a:pt x="4493" y="1062"/>
                    <a:pt x="4493" y="1064"/>
                  </a:cubicBezTo>
                  <a:cubicBezTo>
                    <a:pt x="4493" y="1065"/>
                    <a:pt x="4493" y="1066"/>
                    <a:pt x="4493" y="1068"/>
                  </a:cubicBezTo>
                  <a:cubicBezTo>
                    <a:pt x="4494" y="1074"/>
                    <a:pt x="4494" y="1074"/>
                    <a:pt x="4494" y="1074"/>
                  </a:cubicBezTo>
                  <a:cubicBezTo>
                    <a:pt x="4493" y="1080"/>
                    <a:pt x="4493" y="1080"/>
                    <a:pt x="4493" y="1080"/>
                  </a:cubicBezTo>
                  <a:cubicBezTo>
                    <a:pt x="4493" y="1092"/>
                    <a:pt x="4493" y="1092"/>
                    <a:pt x="4493" y="1092"/>
                  </a:cubicBezTo>
                  <a:cubicBezTo>
                    <a:pt x="4492" y="1097"/>
                    <a:pt x="4492" y="1101"/>
                    <a:pt x="4492" y="1105"/>
                  </a:cubicBezTo>
                  <a:cubicBezTo>
                    <a:pt x="4491" y="1109"/>
                    <a:pt x="4491" y="1113"/>
                    <a:pt x="4490" y="1117"/>
                  </a:cubicBezTo>
                  <a:cubicBezTo>
                    <a:pt x="4487" y="1146"/>
                    <a:pt x="4480" y="1174"/>
                    <a:pt x="4471" y="1198"/>
                  </a:cubicBezTo>
                  <a:cubicBezTo>
                    <a:pt x="4467" y="1210"/>
                    <a:pt x="4462" y="1221"/>
                    <a:pt x="4458" y="1231"/>
                  </a:cubicBezTo>
                  <a:cubicBezTo>
                    <a:pt x="4454" y="1241"/>
                    <a:pt x="4449" y="1252"/>
                    <a:pt x="4445" y="1259"/>
                  </a:cubicBezTo>
                  <a:cubicBezTo>
                    <a:pt x="4441" y="1269"/>
                    <a:pt x="4434" y="1281"/>
                    <a:pt x="4427" y="1292"/>
                  </a:cubicBezTo>
                  <a:cubicBezTo>
                    <a:pt x="4416" y="1311"/>
                    <a:pt x="4400" y="1333"/>
                    <a:pt x="4383" y="1355"/>
                  </a:cubicBezTo>
                  <a:cubicBezTo>
                    <a:pt x="4364" y="1378"/>
                    <a:pt x="4343" y="1401"/>
                    <a:pt x="4320" y="1424"/>
                  </a:cubicBezTo>
                  <a:cubicBezTo>
                    <a:pt x="4320" y="1424"/>
                    <a:pt x="4320" y="1424"/>
                    <a:pt x="4320" y="1424"/>
                  </a:cubicBezTo>
                  <a:cubicBezTo>
                    <a:pt x="4314" y="1430"/>
                    <a:pt x="4308" y="1435"/>
                    <a:pt x="4302" y="1441"/>
                  </a:cubicBezTo>
                  <a:cubicBezTo>
                    <a:pt x="4296" y="1447"/>
                    <a:pt x="4290" y="1452"/>
                    <a:pt x="4284" y="1458"/>
                  </a:cubicBezTo>
                  <a:cubicBezTo>
                    <a:pt x="4244" y="1494"/>
                    <a:pt x="4204" y="1525"/>
                    <a:pt x="4174" y="1545"/>
                  </a:cubicBezTo>
                  <a:cubicBezTo>
                    <a:pt x="4164" y="1552"/>
                    <a:pt x="4156" y="1557"/>
                    <a:pt x="4144" y="1565"/>
                  </a:cubicBezTo>
                  <a:cubicBezTo>
                    <a:pt x="4108" y="1589"/>
                    <a:pt x="4055" y="1626"/>
                    <a:pt x="4003" y="1659"/>
                  </a:cubicBezTo>
                  <a:cubicBezTo>
                    <a:pt x="4001" y="1660"/>
                    <a:pt x="4000" y="1661"/>
                    <a:pt x="3998" y="1662"/>
                  </a:cubicBezTo>
                  <a:cubicBezTo>
                    <a:pt x="3997" y="1663"/>
                    <a:pt x="3996" y="1663"/>
                    <a:pt x="3995" y="1664"/>
                  </a:cubicBezTo>
                  <a:cubicBezTo>
                    <a:pt x="3982" y="1672"/>
                    <a:pt x="3968" y="1681"/>
                    <a:pt x="3955" y="1689"/>
                  </a:cubicBezTo>
                  <a:cubicBezTo>
                    <a:pt x="3931" y="1703"/>
                    <a:pt x="3907" y="1717"/>
                    <a:pt x="3885" y="1730"/>
                  </a:cubicBezTo>
                  <a:cubicBezTo>
                    <a:pt x="3880" y="1733"/>
                    <a:pt x="3875" y="1735"/>
                    <a:pt x="3870" y="1738"/>
                  </a:cubicBezTo>
                  <a:cubicBezTo>
                    <a:pt x="3865" y="1741"/>
                    <a:pt x="3860" y="1744"/>
                    <a:pt x="3855" y="1746"/>
                  </a:cubicBezTo>
                  <a:cubicBezTo>
                    <a:pt x="3851" y="1749"/>
                    <a:pt x="3846" y="1751"/>
                    <a:pt x="3841" y="1754"/>
                  </a:cubicBezTo>
                  <a:cubicBezTo>
                    <a:pt x="3837" y="1756"/>
                    <a:pt x="3832" y="1759"/>
                    <a:pt x="3829" y="1761"/>
                  </a:cubicBezTo>
                  <a:cubicBezTo>
                    <a:pt x="3824" y="1763"/>
                    <a:pt x="3819" y="1766"/>
                    <a:pt x="3814" y="1769"/>
                  </a:cubicBezTo>
                  <a:cubicBezTo>
                    <a:pt x="3808" y="1771"/>
                    <a:pt x="3802" y="1774"/>
                    <a:pt x="3796" y="1777"/>
                  </a:cubicBezTo>
                  <a:cubicBezTo>
                    <a:pt x="3776" y="1786"/>
                    <a:pt x="3751" y="1796"/>
                    <a:pt x="3725" y="1805"/>
                  </a:cubicBezTo>
                  <a:cubicBezTo>
                    <a:pt x="3697" y="1814"/>
                    <a:pt x="3666" y="1823"/>
                    <a:pt x="3635" y="1829"/>
                  </a:cubicBezTo>
                  <a:cubicBezTo>
                    <a:pt x="3635" y="1829"/>
                    <a:pt x="3635" y="1829"/>
                    <a:pt x="3635" y="1829"/>
                  </a:cubicBezTo>
                  <a:cubicBezTo>
                    <a:pt x="3618" y="1832"/>
                    <a:pt x="3601" y="1835"/>
                    <a:pt x="3585" y="1837"/>
                  </a:cubicBezTo>
                  <a:cubicBezTo>
                    <a:pt x="3530" y="1844"/>
                    <a:pt x="3478" y="1842"/>
                    <a:pt x="3443" y="1839"/>
                  </a:cubicBezTo>
                  <a:cubicBezTo>
                    <a:pt x="3436" y="1838"/>
                    <a:pt x="3431" y="1837"/>
                    <a:pt x="3425" y="1837"/>
                  </a:cubicBezTo>
                  <a:cubicBezTo>
                    <a:pt x="3419" y="1836"/>
                    <a:pt x="3413" y="1835"/>
                    <a:pt x="3407" y="1834"/>
                  </a:cubicBezTo>
                  <a:cubicBezTo>
                    <a:pt x="3396" y="1833"/>
                    <a:pt x="3383" y="1832"/>
                    <a:pt x="3371" y="1830"/>
                  </a:cubicBezTo>
                  <a:cubicBezTo>
                    <a:pt x="3364" y="1829"/>
                    <a:pt x="3357" y="1828"/>
                    <a:pt x="3350" y="1827"/>
                  </a:cubicBezTo>
                  <a:cubicBezTo>
                    <a:pt x="3343" y="1826"/>
                    <a:pt x="3336" y="1825"/>
                    <a:pt x="3328" y="1824"/>
                  </a:cubicBezTo>
                  <a:cubicBezTo>
                    <a:pt x="3321" y="1823"/>
                    <a:pt x="3314" y="1822"/>
                    <a:pt x="3306" y="1820"/>
                  </a:cubicBezTo>
                  <a:cubicBezTo>
                    <a:pt x="3299" y="1819"/>
                    <a:pt x="3291" y="1818"/>
                    <a:pt x="3283" y="1816"/>
                  </a:cubicBezTo>
                  <a:cubicBezTo>
                    <a:pt x="3268" y="1813"/>
                    <a:pt x="3253" y="1810"/>
                    <a:pt x="3238" y="1807"/>
                  </a:cubicBezTo>
                  <a:cubicBezTo>
                    <a:pt x="3236" y="1807"/>
                    <a:pt x="3234" y="1806"/>
                    <a:pt x="3232" y="1806"/>
                  </a:cubicBezTo>
                  <a:cubicBezTo>
                    <a:pt x="3231" y="1806"/>
                    <a:pt x="3230" y="1805"/>
                    <a:pt x="3228" y="1805"/>
                  </a:cubicBezTo>
                  <a:cubicBezTo>
                    <a:pt x="3213" y="1802"/>
                    <a:pt x="3197" y="1798"/>
                    <a:pt x="3182" y="1795"/>
                  </a:cubicBezTo>
                  <a:cubicBezTo>
                    <a:pt x="3155" y="1789"/>
                    <a:pt x="3129" y="1783"/>
                    <a:pt x="3105" y="1777"/>
                  </a:cubicBezTo>
                  <a:cubicBezTo>
                    <a:pt x="3093" y="1775"/>
                    <a:pt x="3082" y="1773"/>
                    <a:pt x="3072" y="1770"/>
                  </a:cubicBezTo>
                  <a:cubicBezTo>
                    <a:pt x="3061" y="1768"/>
                    <a:pt x="3050" y="1766"/>
                    <a:pt x="3042" y="1765"/>
                  </a:cubicBezTo>
                  <a:cubicBezTo>
                    <a:pt x="3033" y="1763"/>
                    <a:pt x="3020" y="1761"/>
                    <a:pt x="3007" y="1758"/>
                  </a:cubicBezTo>
                  <a:cubicBezTo>
                    <a:pt x="2987" y="1754"/>
                    <a:pt x="2961" y="1748"/>
                    <a:pt x="2935" y="1742"/>
                  </a:cubicBezTo>
                  <a:cubicBezTo>
                    <a:pt x="2907" y="1735"/>
                    <a:pt x="2878" y="1727"/>
                    <a:pt x="2848" y="1720"/>
                  </a:cubicBezTo>
                  <a:cubicBezTo>
                    <a:pt x="2848" y="1720"/>
                    <a:pt x="2848" y="1720"/>
                    <a:pt x="2848" y="1720"/>
                  </a:cubicBezTo>
                  <a:cubicBezTo>
                    <a:pt x="2832" y="1716"/>
                    <a:pt x="2817" y="1713"/>
                    <a:pt x="2801" y="1709"/>
                  </a:cubicBezTo>
                  <a:cubicBezTo>
                    <a:pt x="2789" y="1706"/>
                    <a:pt x="2776" y="1703"/>
                    <a:pt x="2764" y="1701"/>
                  </a:cubicBezTo>
                  <a:cubicBezTo>
                    <a:pt x="2752" y="1699"/>
                    <a:pt x="2741" y="1696"/>
                    <a:pt x="2729" y="1694"/>
                  </a:cubicBezTo>
                  <a:cubicBezTo>
                    <a:pt x="2707" y="1690"/>
                    <a:pt x="2687" y="1686"/>
                    <a:pt x="2669" y="1683"/>
                  </a:cubicBezTo>
                  <a:cubicBezTo>
                    <a:pt x="2657" y="1681"/>
                    <a:pt x="2648" y="1679"/>
                    <a:pt x="2635" y="1678"/>
                  </a:cubicBezTo>
                  <a:cubicBezTo>
                    <a:pt x="2614" y="1675"/>
                    <a:pt x="2588" y="1673"/>
                    <a:pt x="2560" y="1675"/>
                  </a:cubicBezTo>
                  <a:cubicBezTo>
                    <a:pt x="2547" y="1676"/>
                    <a:pt x="2532" y="1678"/>
                    <a:pt x="2518" y="1680"/>
                  </a:cubicBezTo>
                  <a:cubicBezTo>
                    <a:pt x="2503" y="1683"/>
                    <a:pt x="2488" y="1686"/>
                    <a:pt x="2474" y="1690"/>
                  </a:cubicBezTo>
                  <a:cubicBezTo>
                    <a:pt x="2472" y="1690"/>
                    <a:pt x="2470" y="1690"/>
                    <a:pt x="2468" y="1691"/>
                  </a:cubicBezTo>
                  <a:cubicBezTo>
                    <a:pt x="2467" y="1691"/>
                    <a:pt x="2466" y="1692"/>
                    <a:pt x="2465" y="1692"/>
                  </a:cubicBezTo>
                  <a:cubicBezTo>
                    <a:pt x="2450" y="1696"/>
                    <a:pt x="2434" y="1700"/>
                    <a:pt x="2419" y="1704"/>
                  </a:cubicBezTo>
                  <a:cubicBezTo>
                    <a:pt x="2393" y="1711"/>
                    <a:pt x="2368" y="1719"/>
                    <a:pt x="2346" y="1728"/>
                  </a:cubicBezTo>
                  <a:cubicBezTo>
                    <a:pt x="2341" y="1730"/>
                    <a:pt x="2336" y="1733"/>
                    <a:pt x="2331" y="1735"/>
                  </a:cubicBezTo>
                  <a:cubicBezTo>
                    <a:pt x="2326" y="1737"/>
                    <a:pt x="2322" y="1740"/>
                    <a:pt x="2317" y="1742"/>
                  </a:cubicBezTo>
                  <a:cubicBezTo>
                    <a:pt x="2313" y="1744"/>
                    <a:pt x="2309" y="1747"/>
                    <a:pt x="2304" y="1749"/>
                  </a:cubicBezTo>
                  <a:cubicBezTo>
                    <a:pt x="2300" y="1752"/>
                    <a:pt x="2296" y="1754"/>
                    <a:pt x="2293" y="1757"/>
                  </a:cubicBezTo>
                  <a:cubicBezTo>
                    <a:pt x="2285" y="1762"/>
                    <a:pt x="2275" y="1769"/>
                    <a:pt x="2265" y="1776"/>
                  </a:cubicBezTo>
                  <a:cubicBezTo>
                    <a:pt x="2248" y="1788"/>
                    <a:pt x="2227" y="1802"/>
                    <a:pt x="2206" y="1818"/>
                  </a:cubicBezTo>
                  <a:cubicBezTo>
                    <a:pt x="2201" y="1822"/>
                    <a:pt x="2195" y="1827"/>
                    <a:pt x="2189" y="1831"/>
                  </a:cubicBezTo>
                  <a:cubicBezTo>
                    <a:pt x="2186" y="1833"/>
                    <a:pt x="2183" y="1836"/>
                    <a:pt x="2180" y="1838"/>
                  </a:cubicBezTo>
                  <a:cubicBezTo>
                    <a:pt x="2178" y="1840"/>
                    <a:pt x="2175" y="1842"/>
                    <a:pt x="2172" y="1845"/>
                  </a:cubicBezTo>
                  <a:cubicBezTo>
                    <a:pt x="2166" y="1849"/>
                    <a:pt x="2160" y="1854"/>
                    <a:pt x="2154" y="1859"/>
                  </a:cubicBezTo>
                  <a:cubicBezTo>
                    <a:pt x="2148" y="1864"/>
                    <a:pt x="2143" y="1868"/>
                    <a:pt x="2137" y="1873"/>
                  </a:cubicBezTo>
                  <a:cubicBezTo>
                    <a:pt x="2137" y="1873"/>
                    <a:pt x="2137" y="1873"/>
                    <a:pt x="2137" y="1873"/>
                  </a:cubicBezTo>
                  <a:cubicBezTo>
                    <a:pt x="2124" y="1883"/>
                    <a:pt x="2112" y="1894"/>
                    <a:pt x="2100" y="1904"/>
                  </a:cubicBezTo>
                  <a:cubicBezTo>
                    <a:pt x="2060" y="1938"/>
                    <a:pt x="2022" y="1970"/>
                    <a:pt x="1994" y="1991"/>
                  </a:cubicBezTo>
                  <a:cubicBezTo>
                    <a:pt x="1984" y="1999"/>
                    <a:pt x="1977" y="2005"/>
                    <a:pt x="1966" y="2013"/>
                  </a:cubicBezTo>
                  <a:cubicBezTo>
                    <a:pt x="1933" y="2040"/>
                    <a:pt x="1885" y="2083"/>
                    <a:pt x="1840" y="2124"/>
                  </a:cubicBezTo>
                  <a:cubicBezTo>
                    <a:pt x="1839" y="2126"/>
                    <a:pt x="1838" y="2127"/>
                    <a:pt x="1836" y="2129"/>
                  </a:cubicBezTo>
                  <a:cubicBezTo>
                    <a:pt x="1835" y="2129"/>
                    <a:pt x="1834" y="2130"/>
                    <a:pt x="1833" y="2131"/>
                  </a:cubicBezTo>
                  <a:cubicBezTo>
                    <a:pt x="1822" y="2142"/>
                    <a:pt x="1810" y="2153"/>
                    <a:pt x="1799" y="2163"/>
                  </a:cubicBezTo>
                  <a:cubicBezTo>
                    <a:pt x="1779" y="2182"/>
                    <a:pt x="1760" y="2201"/>
                    <a:pt x="1742" y="2219"/>
                  </a:cubicBezTo>
                  <a:cubicBezTo>
                    <a:pt x="1734" y="2227"/>
                    <a:pt x="1726" y="2235"/>
                    <a:pt x="1719" y="2242"/>
                  </a:cubicBezTo>
                  <a:cubicBezTo>
                    <a:pt x="1711" y="2250"/>
                    <a:pt x="1703" y="2258"/>
                    <a:pt x="1698" y="2264"/>
                  </a:cubicBezTo>
                  <a:cubicBezTo>
                    <a:pt x="1691" y="2271"/>
                    <a:pt x="1682" y="2280"/>
                    <a:pt x="1673" y="2290"/>
                  </a:cubicBezTo>
                  <a:cubicBezTo>
                    <a:pt x="1665" y="2297"/>
                    <a:pt x="1656" y="2305"/>
                    <a:pt x="1647" y="2314"/>
                  </a:cubicBezTo>
                  <a:cubicBezTo>
                    <a:pt x="1638" y="2322"/>
                    <a:pt x="1628" y="2331"/>
                    <a:pt x="1618" y="2340"/>
                  </a:cubicBezTo>
                  <a:cubicBezTo>
                    <a:pt x="1596" y="2359"/>
                    <a:pt x="1573" y="2379"/>
                    <a:pt x="1549" y="2399"/>
                  </a:cubicBezTo>
                  <a:cubicBezTo>
                    <a:pt x="1549" y="2399"/>
                    <a:pt x="1549" y="2399"/>
                    <a:pt x="1549" y="2399"/>
                  </a:cubicBezTo>
                  <a:cubicBezTo>
                    <a:pt x="1536" y="2409"/>
                    <a:pt x="1523" y="2420"/>
                    <a:pt x="1510" y="2430"/>
                  </a:cubicBezTo>
                  <a:cubicBezTo>
                    <a:pt x="1488" y="2446"/>
                    <a:pt x="1466" y="2461"/>
                    <a:pt x="1445" y="2474"/>
                  </a:cubicBezTo>
                  <a:cubicBezTo>
                    <a:pt x="1424" y="2486"/>
                    <a:pt x="1404" y="2496"/>
                    <a:pt x="1388" y="2503"/>
                  </a:cubicBezTo>
                  <a:cubicBezTo>
                    <a:pt x="1376" y="2509"/>
                    <a:pt x="1367" y="2512"/>
                    <a:pt x="1355" y="2517"/>
                  </a:cubicBezTo>
                  <a:cubicBezTo>
                    <a:pt x="1335" y="2526"/>
                    <a:pt x="1310" y="2537"/>
                    <a:pt x="1282" y="2548"/>
                  </a:cubicBezTo>
                  <a:cubicBezTo>
                    <a:pt x="1267" y="2553"/>
                    <a:pt x="1252" y="2558"/>
                    <a:pt x="1237" y="2562"/>
                  </a:cubicBezTo>
                  <a:cubicBezTo>
                    <a:pt x="1221" y="2566"/>
                    <a:pt x="1205" y="2569"/>
                    <a:pt x="1189" y="2571"/>
                  </a:cubicBezTo>
                  <a:cubicBezTo>
                    <a:pt x="1187" y="2571"/>
                    <a:pt x="1185" y="2571"/>
                    <a:pt x="1183" y="2572"/>
                  </a:cubicBezTo>
                  <a:cubicBezTo>
                    <a:pt x="1182" y="2572"/>
                    <a:pt x="1181" y="2572"/>
                    <a:pt x="1179" y="2572"/>
                  </a:cubicBezTo>
                  <a:cubicBezTo>
                    <a:pt x="1171" y="2573"/>
                    <a:pt x="1163" y="2573"/>
                    <a:pt x="1155" y="2573"/>
                  </a:cubicBezTo>
                  <a:cubicBezTo>
                    <a:pt x="1150" y="2574"/>
                    <a:pt x="1146" y="2574"/>
                    <a:pt x="1142" y="2574"/>
                  </a:cubicBezTo>
                  <a:cubicBezTo>
                    <a:pt x="1138" y="2574"/>
                    <a:pt x="1134" y="2574"/>
                    <a:pt x="1130" y="2573"/>
                  </a:cubicBezTo>
                  <a:cubicBezTo>
                    <a:pt x="1101" y="2573"/>
                    <a:pt x="1074" y="2570"/>
                    <a:pt x="1049" y="2566"/>
                  </a:cubicBezTo>
                  <a:cubicBezTo>
                    <a:pt x="1043" y="2565"/>
                    <a:pt x="1037" y="2564"/>
                    <a:pt x="1031" y="2564"/>
                  </a:cubicBezTo>
                  <a:cubicBezTo>
                    <a:pt x="1025" y="2563"/>
                    <a:pt x="1020" y="2562"/>
                    <a:pt x="1015" y="2561"/>
                  </a:cubicBezTo>
                  <a:cubicBezTo>
                    <a:pt x="1004" y="2559"/>
                    <a:pt x="993" y="2557"/>
                    <a:pt x="985" y="2556"/>
                  </a:cubicBezTo>
                  <a:cubicBezTo>
                    <a:pt x="975" y="2554"/>
                    <a:pt x="962" y="2552"/>
                    <a:pt x="949" y="2548"/>
                  </a:cubicBezTo>
                  <a:cubicBezTo>
                    <a:pt x="928" y="2543"/>
                    <a:pt x="902" y="2536"/>
                    <a:pt x="876" y="2527"/>
                  </a:cubicBezTo>
                  <a:cubicBezTo>
                    <a:pt x="848" y="2517"/>
                    <a:pt x="819" y="2506"/>
                    <a:pt x="790" y="2493"/>
                  </a:cubicBezTo>
                  <a:cubicBezTo>
                    <a:pt x="790" y="2493"/>
                    <a:pt x="790" y="2493"/>
                    <a:pt x="790" y="2493"/>
                  </a:cubicBezTo>
                  <a:cubicBezTo>
                    <a:pt x="775" y="2487"/>
                    <a:pt x="760" y="2480"/>
                    <a:pt x="746" y="2473"/>
                  </a:cubicBezTo>
                  <a:cubicBezTo>
                    <a:pt x="697" y="2450"/>
                    <a:pt x="653" y="2426"/>
                    <a:pt x="622" y="2409"/>
                  </a:cubicBezTo>
                  <a:cubicBezTo>
                    <a:pt x="612" y="2402"/>
                    <a:pt x="603" y="2397"/>
                    <a:pt x="592" y="2390"/>
                  </a:cubicBezTo>
                  <a:cubicBezTo>
                    <a:pt x="555" y="2368"/>
                    <a:pt x="498" y="2337"/>
                    <a:pt x="445" y="2308"/>
                  </a:cubicBezTo>
                  <a:cubicBezTo>
                    <a:pt x="443" y="2307"/>
                    <a:pt x="441" y="2306"/>
                    <a:pt x="439" y="2305"/>
                  </a:cubicBezTo>
                  <a:cubicBezTo>
                    <a:pt x="438" y="2304"/>
                    <a:pt x="437" y="2303"/>
                    <a:pt x="436" y="2303"/>
                  </a:cubicBezTo>
                  <a:cubicBezTo>
                    <a:pt x="422" y="2295"/>
                    <a:pt x="408" y="2287"/>
                    <a:pt x="395" y="2279"/>
                  </a:cubicBezTo>
                  <a:cubicBezTo>
                    <a:pt x="383" y="2272"/>
                    <a:pt x="371" y="2265"/>
                    <a:pt x="359" y="2259"/>
                  </a:cubicBezTo>
                  <a:cubicBezTo>
                    <a:pt x="348" y="2252"/>
                    <a:pt x="337" y="2245"/>
                    <a:pt x="326" y="2239"/>
                  </a:cubicBezTo>
                  <a:cubicBezTo>
                    <a:pt x="315" y="2233"/>
                    <a:pt x="306" y="2226"/>
                    <a:pt x="297" y="2221"/>
                  </a:cubicBezTo>
                  <a:cubicBezTo>
                    <a:pt x="288" y="2216"/>
                    <a:pt x="278" y="2210"/>
                    <a:pt x="271" y="2205"/>
                  </a:cubicBezTo>
                  <a:cubicBezTo>
                    <a:pt x="267" y="2203"/>
                    <a:pt x="262" y="2200"/>
                    <a:pt x="256" y="2197"/>
                  </a:cubicBezTo>
                  <a:cubicBezTo>
                    <a:pt x="251" y="2193"/>
                    <a:pt x="246" y="2189"/>
                    <a:pt x="240" y="2185"/>
                  </a:cubicBezTo>
                  <a:cubicBezTo>
                    <a:pt x="236" y="2182"/>
                    <a:pt x="231" y="2179"/>
                    <a:pt x="226" y="2175"/>
                  </a:cubicBezTo>
                  <a:cubicBezTo>
                    <a:pt x="221" y="2171"/>
                    <a:pt x="216" y="2167"/>
                    <a:pt x="211" y="2163"/>
                  </a:cubicBezTo>
                  <a:cubicBezTo>
                    <a:pt x="201" y="2155"/>
                    <a:pt x="191" y="2146"/>
                    <a:pt x="181" y="2137"/>
                  </a:cubicBezTo>
                  <a:cubicBezTo>
                    <a:pt x="159" y="2116"/>
                    <a:pt x="137" y="2093"/>
                    <a:pt x="117" y="2068"/>
                  </a:cubicBezTo>
                  <a:cubicBezTo>
                    <a:pt x="117" y="2068"/>
                    <a:pt x="117" y="2068"/>
                    <a:pt x="117" y="2068"/>
                  </a:cubicBezTo>
                  <a:cubicBezTo>
                    <a:pt x="112" y="2061"/>
                    <a:pt x="106" y="2054"/>
                    <a:pt x="101" y="2047"/>
                  </a:cubicBezTo>
                  <a:cubicBezTo>
                    <a:pt x="96" y="2040"/>
                    <a:pt x="91" y="2034"/>
                    <a:pt x="87" y="2027"/>
                  </a:cubicBezTo>
                  <a:cubicBezTo>
                    <a:pt x="71" y="2003"/>
                    <a:pt x="58" y="1979"/>
                    <a:pt x="49" y="1955"/>
                  </a:cubicBezTo>
                  <a:cubicBezTo>
                    <a:pt x="44" y="1944"/>
                    <a:pt x="40" y="1933"/>
                    <a:pt x="37" y="1922"/>
                  </a:cubicBezTo>
                  <a:cubicBezTo>
                    <a:pt x="35" y="1916"/>
                    <a:pt x="34" y="1911"/>
                    <a:pt x="33" y="1906"/>
                  </a:cubicBezTo>
                  <a:cubicBezTo>
                    <a:pt x="32" y="1901"/>
                    <a:pt x="31" y="1896"/>
                    <a:pt x="30" y="1892"/>
                  </a:cubicBezTo>
                  <a:cubicBezTo>
                    <a:pt x="28" y="1885"/>
                    <a:pt x="28" y="1879"/>
                    <a:pt x="27" y="1873"/>
                  </a:cubicBezTo>
                  <a:cubicBezTo>
                    <a:pt x="26" y="1870"/>
                    <a:pt x="26" y="1867"/>
                    <a:pt x="26" y="1864"/>
                  </a:cubicBezTo>
                  <a:cubicBezTo>
                    <a:pt x="25" y="1863"/>
                    <a:pt x="25" y="1861"/>
                    <a:pt x="25" y="1859"/>
                  </a:cubicBezTo>
                  <a:cubicBezTo>
                    <a:pt x="25" y="1858"/>
                    <a:pt x="25" y="1856"/>
                    <a:pt x="25" y="1854"/>
                  </a:cubicBezTo>
                  <a:cubicBezTo>
                    <a:pt x="24" y="1848"/>
                    <a:pt x="24" y="1842"/>
                    <a:pt x="23" y="1836"/>
                  </a:cubicBezTo>
                  <a:cubicBezTo>
                    <a:pt x="23" y="1830"/>
                    <a:pt x="23" y="1823"/>
                    <a:pt x="23" y="1816"/>
                  </a:cubicBezTo>
                  <a:cubicBezTo>
                    <a:pt x="22" y="1813"/>
                    <a:pt x="22" y="1809"/>
                    <a:pt x="22" y="1806"/>
                  </a:cubicBezTo>
                  <a:cubicBezTo>
                    <a:pt x="22" y="1802"/>
                    <a:pt x="23" y="1799"/>
                    <a:pt x="23" y="1795"/>
                  </a:cubicBezTo>
                  <a:cubicBezTo>
                    <a:pt x="23" y="1791"/>
                    <a:pt x="23" y="1788"/>
                    <a:pt x="23" y="1784"/>
                  </a:cubicBezTo>
                  <a:cubicBezTo>
                    <a:pt x="23" y="1780"/>
                    <a:pt x="24" y="1776"/>
                    <a:pt x="24" y="1773"/>
                  </a:cubicBezTo>
                  <a:cubicBezTo>
                    <a:pt x="24" y="1769"/>
                    <a:pt x="25" y="1765"/>
                    <a:pt x="25" y="1761"/>
                  </a:cubicBezTo>
                  <a:cubicBezTo>
                    <a:pt x="26" y="1755"/>
                    <a:pt x="26" y="1755"/>
                    <a:pt x="26" y="1755"/>
                  </a:cubicBezTo>
                  <a:cubicBezTo>
                    <a:pt x="26" y="1753"/>
                    <a:pt x="26" y="1751"/>
                    <a:pt x="26" y="1749"/>
                  </a:cubicBezTo>
                  <a:cubicBezTo>
                    <a:pt x="28" y="1741"/>
                    <a:pt x="29" y="1734"/>
                    <a:pt x="30" y="1726"/>
                  </a:cubicBezTo>
                  <a:cubicBezTo>
                    <a:pt x="32" y="1718"/>
                    <a:pt x="34" y="1710"/>
                    <a:pt x="36" y="1703"/>
                  </a:cubicBezTo>
                  <a:cubicBezTo>
                    <a:pt x="37" y="1697"/>
                    <a:pt x="37" y="1697"/>
                    <a:pt x="37" y="1697"/>
                  </a:cubicBezTo>
                  <a:cubicBezTo>
                    <a:pt x="39" y="1691"/>
                    <a:pt x="39" y="1691"/>
                    <a:pt x="39" y="1691"/>
                  </a:cubicBezTo>
                  <a:cubicBezTo>
                    <a:pt x="40" y="1687"/>
                    <a:pt x="41" y="1684"/>
                    <a:pt x="42" y="1680"/>
                  </a:cubicBezTo>
                  <a:cubicBezTo>
                    <a:pt x="43" y="1678"/>
                    <a:pt x="43" y="1676"/>
                    <a:pt x="44" y="1674"/>
                  </a:cubicBezTo>
                  <a:cubicBezTo>
                    <a:pt x="44" y="1673"/>
                    <a:pt x="44" y="1672"/>
                    <a:pt x="45" y="1670"/>
                  </a:cubicBezTo>
                  <a:cubicBezTo>
                    <a:pt x="47" y="1663"/>
                    <a:pt x="50" y="1655"/>
                    <a:pt x="52" y="1647"/>
                  </a:cubicBezTo>
                  <a:cubicBezTo>
                    <a:pt x="53" y="1643"/>
                    <a:pt x="55" y="1640"/>
                    <a:pt x="56" y="1636"/>
                  </a:cubicBezTo>
                  <a:cubicBezTo>
                    <a:pt x="57" y="1632"/>
                    <a:pt x="59" y="1628"/>
                    <a:pt x="60" y="1625"/>
                  </a:cubicBezTo>
                  <a:cubicBezTo>
                    <a:pt x="63" y="1618"/>
                    <a:pt x="65" y="1611"/>
                    <a:pt x="67" y="1605"/>
                  </a:cubicBezTo>
                  <a:cubicBezTo>
                    <a:pt x="70" y="1599"/>
                    <a:pt x="72" y="1592"/>
                    <a:pt x="75" y="1586"/>
                  </a:cubicBezTo>
                  <a:cubicBezTo>
                    <a:pt x="76" y="1583"/>
                    <a:pt x="77" y="1580"/>
                    <a:pt x="79" y="1576"/>
                  </a:cubicBezTo>
                  <a:cubicBezTo>
                    <a:pt x="80" y="1573"/>
                    <a:pt x="81" y="1570"/>
                    <a:pt x="82" y="1567"/>
                  </a:cubicBezTo>
                  <a:cubicBezTo>
                    <a:pt x="85" y="1561"/>
                    <a:pt x="87" y="1555"/>
                    <a:pt x="90" y="1550"/>
                  </a:cubicBezTo>
                  <a:cubicBezTo>
                    <a:pt x="95" y="1539"/>
                    <a:pt x="99" y="1528"/>
                    <a:pt x="103" y="1519"/>
                  </a:cubicBezTo>
                  <a:cubicBezTo>
                    <a:pt x="107" y="1509"/>
                    <a:pt x="112" y="1498"/>
                    <a:pt x="115" y="1491"/>
                  </a:cubicBezTo>
                  <a:cubicBezTo>
                    <a:pt x="119" y="1482"/>
                    <a:pt x="125" y="1470"/>
                    <a:pt x="130" y="1458"/>
                  </a:cubicBezTo>
                  <a:cubicBezTo>
                    <a:pt x="139" y="1439"/>
                    <a:pt x="152" y="1415"/>
                    <a:pt x="165" y="1392"/>
                  </a:cubicBezTo>
                  <a:cubicBezTo>
                    <a:pt x="180" y="1366"/>
                    <a:pt x="196" y="1340"/>
                    <a:pt x="213" y="1313"/>
                  </a:cubicBezTo>
                  <a:cubicBezTo>
                    <a:pt x="212" y="1312"/>
                    <a:pt x="212" y="1312"/>
                    <a:pt x="212" y="1312"/>
                  </a:cubicBezTo>
                  <a:cubicBezTo>
                    <a:pt x="203" y="1326"/>
                    <a:pt x="194" y="1340"/>
                    <a:pt x="186" y="135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pic>
        <p:nvPicPr>
          <p:cNvPr id="3" name="Grafik 2">
            <a:extLst>
              <a:ext uri="{FF2B5EF4-FFF2-40B4-BE49-F238E27FC236}">
                <a16:creationId xmlns:a16="http://schemas.microsoft.com/office/drawing/2014/main" id="{24481355-1F84-4C9E-A857-7C73049EA135}"/>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6020829" y="1124745"/>
            <a:ext cx="6240462" cy="5733255"/>
          </a:xfrm>
          <a:prstGeom prst="rect">
            <a:avLst/>
          </a:prstGeom>
        </p:spPr>
      </p:pic>
      <p:sp>
        <p:nvSpPr>
          <p:cNvPr id="25" name="Textfeld 24"/>
          <p:cNvSpPr txBox="1"/>
          <p:nvPr>
            <p:custDataLst>
              <p:tags r:id="rId3"/>
            </p:custDataLst>
          </p:nvPr>
        </p:nvSpPr>
        <p:spPr bwMode="gray">
          <a:xfrm>
            <a:off x="1558924" y="3789388"/>
            <a:ext cx="6609716" cy="2087538"/>
          </a:xfrm>
          <a:prstGeom prst="rect">
            <a:avLst/>
          </a:prstGeom>
          <a:noFill/>
        </p:spPr>
        <p:txBody>
          <a:bodyPr wrap="square" lIns="0" tIns="0" rIns="0" bIns="0" rtlCol="0" anchor="t">
            <a:noAutofit/>
          </a:bodyPr>
          <a:lstStyle>
            <a:lvl1pPr marL="180000" indent="-180000" algn="l" defTabSz="914400" rtl="0" eaLnBrk="1" latinLnBrk="0" hangingPunct="1">
              <a:buClr>
                <a:schemeClr val="accent1"/>
              </a:buClr>
              <a:buFont typeface="Wingdings" panose="05000000000000000000" pitchFamily="2" charset="2"/>
              <a:buChar char=""/>
            </a:lvl1pPr>
            <a:lvl2pPr marL="180000" indent="-180000" algn="l" defTabSz="914400" rtl="0" eaLnBrk="1" latinLnBrk="0" hangingPunct="1">
              <a:buClr>
                <a:schemeClr val="accent1"/>
              </a:buClr>
              <a:buFont typeface="Wingdings" panose="05000000000000000000" pitchFamily="2" charset="2"/>
              <a:buChar char=""/>
            </a:lvl2pPr>
            <a:lvl3pPr marL="360000" indent="-180000" algn="l" defTabSz="914400" rtl="0" eaLnBrk="1" latinLnBrk="0" hangingPunct="1">
              <a:buClr>
                <a:schemeClr val="accent1"/>
              </a:buClr>
              <a:buFont typeface="Symbol" panose="05050102010706020507" pitchFamily="18" charset="2"/>
              <a:buChar char="-"/>
            </a:lvl3pPr>
            <a:lvl4pPr marL="538163" indent="-180000" algn="l" defTabSz="914400" rtl="0" eaLnBrk="1" latinLnBrk="0" hangingPunct="1">
              <a:buClr>
                <a:schemeClr val="bg2"/>
              </a:buClr>
              <a:buFont typeface="Symbol" panose="05050102010706020507" pitchFamily="18" charset="2"/>
              <a:buChar char="-"/>
            </a:lvl4pPr>
            <a:lvl5pPr marL="720725" indent="-180000" algn="l" defTabSz="914400" rtl="0" eaLnBrk="1" latinLnBrk="0" hangingPunct="1">
              <a:buClr>
                <a:schemeClr val="bg2"/>
              </a:buClr>
              <a:buFont typeface="Symbol" panose="05050102010706020507" pitchFamily="18" charset="2"/>
              <a:buChar char="-"/>
            </a:lvl5pPr>
            <a:lvl6pPr marL="720000" indent="-180000" algn="l" defTabSz="914400" rtl="0" eaLnBrk="1" latinLnBrk="0" hangingPunct="1">
              <a:buClr>
                <a:schemeClr val="bg2"/>
              </a:buClr>
              <a:buFont typeface="Symbol" panose="05050102010706020507" pitchFamily="18" charset="2"/>
              <a:buChar char="-"/>
            </a:lvl6pPr>
            <a:lvl7pPr marL="720000" indent="-180000" algn="l" defTabSz="914400" rtl="0" eaLnBrk="1" latinLnBrk="0" hangingPunct="1">
              <a:buClr>
                <a:schemeClr val="bg2"/>
              </a:buClr>
              <a:buFont typeface="Symbol" panose="05050102010706020507" pitchFamily="18" charset="2"/>
              <a:buChar char="-"/>
            </a:lvl7pPr>
            <a:lvl8pPr marL="720000" indent="-180000" algn="l" defTabSz="914400" rtl="0" eaLnBrk="1" latinLnBrk="0" hangingPunct="1">
              <a:buClr>
                <a:schemeClr val="bg2"/>
              </a:buClr>
              <a:buFont typeface="Symbol" panose="05050102010706020507" pitchFamily="18" charset="2"/>
              <a:buChar char="-"/>
            </a:lvl8pPr>
            <a:lvl9pPr marL="720000" indent="-180000" algn="l" defTabSz="914400" rtl="0" eaLnBrk="1" latinLnBrk="0" hangingPunct="1">
              <a:buClr>
                <a:schemeClr val="bg2"/>
              </a:buClr>
              <a:buFont typeface="Symbol" panose="05050102010706020507" pitchFamily="18" charset="2"/>
              <a:buChar char="-"/>
            </a:lvl9pPr>
          </a:lstStyle>
          <a:p>
            <a:pPr>
              <a:lnSpc>
                <a:spcPct val="105000"/>
              </a:lnSpc>
              <a:spcBef>
                <a:spcPts val="300"/>
              </a:spcBef>
              <a:spcAft>
                <a:spcPts val="300"/>
              </a:spcAft>
              <a:buClr>
                <a:srgbClr val="FFC832"/>
              </a:buClr>
              <a:defRPr/>
            </a:pPr>
            <a:r>
              <a:rPr lang="en-US">
                <a:solidFill>
                  <a:schemeClr val="bg2"/>
                </a:solidFill>
              </a:rPr>
              <a:t>First impression of what the AM software will look:</a:t>
            </a:r>
          </a:p>
          <a:p>
            <a:pPr>
              <a:lnSpc>
                <a:spcPct val="105000"/>
              </a:lnSpc>
              <a:spcBef>
                <a:spcPts val="300"/>
              </a:spcBef>
              <a:spcAft>
                <a:spcPts val="300"/>
              </a:spcAft>
              <a:defRPr/>
            </a:pPr>
            <a:r>
              <a:rPr lang="en-US">
                <a:solidFill>
                  <a:schemeClr val="bg2"/>
                </a:solidFill>
              </a:rPr>
              <a:t>- User Interface </a:t>
            </a:r>
          </a:p>
          <a:p>
            <a:pPr>
              <a:lnSpc>
                <a:spcPct val="105000"/>
              </a:lnSpc>
              <a:spcBef>
                <a:spcPts val="300"/>
              </a:spcBef>
              <a:spcAft>
                <a:spcPts val="300"/>
              </a:spcAft>
              <a:defRPr/>
            </a:pPr>
            <a:r>
              <a:rPr lang="en-US">
                <a:solidFill>
                  <a:schemeClr val="bg2"/>
                </a:solidFill>
              </a:rPr>
              <a:t>- Asset inventory / tracking</a:t>
            </a:r>
          </a:p>
          <a:p>
            <a:pPr>
              <a:lnSpc>
                <a:spcPct val="105000"/>
              </a:lnSpc>
              <a:spcBef>
                <a:spcPts val="300"/>
              </a:spcBef>
              <a:spcAft>
                <a:spcPts val="300"/>
              </a:spcAft>
              <a:defRPr/>
            </a:pPr>
            <a:r>
              <a:rPr lang="en-US">
                <a:solidFill>
                  <a:schemeClr val="bg2"/>
                </a:solidFill>
              </a:rPr>
              <a:t>- User management</a:t>
            </a:r>
          </a:p>
          <a:p>
            <a:pPr>
              <a:lnSpc>
                <a:spcPct val="105000"/>
              </a:lnSpc>
              <a:spcBef>
                <a:spcPts val="300"/>
              </a:spcBef>
              <a:spcAft>
                <a:spcPts val="300"/>
              </a:spcAft>
              <a:buClr>
                <a:srgbClr val="FFC832"/>
              </a:buClr>
              <a:defRPr/>
            </a:pPr>
            <a:r>
              <a:rPr lang="en-US">
                <a:solidFill>
                  <a:schemeClr val="bg2"/>
                </a:solidFill>
              </a:rPr>
              <a:t>Explain what is an Asset Management</a:t>
            </a:r>
          </a:p>
          <a:p>
            <a:pPr>
              <a:lnSpc>
                <a:spcPct val="105000"/>
              </a:lnSpc>
              <a:spcBef>
                <a:spcPts val="300"/>
              </a:spcBef>
              <a:spcAft>
                <a:spcPts val="300"/>
              </a:spcAft>
              <a:buClr>
                <a:srgbClr val="FFC832"/>
              </a:buClr>
              <a:defRPr/>
            </a:pPr>
            <a:r>
              <a:rPr lang="en-US">
                <a:solidFill>
                  <a:schemeClr val="bg2"/>
                </a:solidFill>
              </a:rPr>
              <a:t>What are the benefits</a:t>
            </a:r>
            <a:endParaRPr lang="en-US" sz="2000">
              <a:solidFill>
                <a:schemeClr val="bg2"/>
              </a:solidFill>
            </a:endParaRPr>
          </a:p>
          <a:p>
            <a:pPr>
              <a:lnSpc>
                <a:spcPct val="105000"/>
              </a:lnSpc>
              <a:spcBef>
                <a:spcPts val="300"/>
              </a:spcBef>
              <a:spcAft>
                <a:spcPts val="300"/>
              </a:spcAft>
              <a:defRPr/>
            </a:pPr>
            <a:endParaRPr kumimoji="0" lang="en-US" sz="1600" i="0" u="none" strike="noStrike" kern="1200" cap="none" spc="0" normalizeH="0" baseline="0" noProof="0">
              <a:ln>
                <a:noFill/>
              </a:ln>
              <a:solidFill>
                <a:schemeClr val="bg2"/>
              </a:solidFill>
              <a:effectLst/>
              <a:uLnTx/>
              <a:uFillTx/>
              <a:latin typeface="Verdana"/>
              <a:ea typeface="+mn-ea"/>
              <a:cs typeface="+mn-cs"/>
            </a:endParaRPr>
          </a:p>
        </p:txBody>
      </p:sp>
      <p:sp>
        <p:nvSpPr>
          <p:cNvPr id="28" name="Rechteck 27">
            <a:extLst>
              <a:ext uri="{FF2B5EF4-FFF2-40B4-BE49-F238E27FC236}">
                <a16:creationId xmlns:a16="http://schemas.microsoft.com/office/drawing/2014/main" id="{B92A179B-ECA6-410F-A0B0-61E5364F5075}"/>
              </a:ext>
            </a:extLst>
          </p:cNvPr>
          <p:cNvSpPr/>
          <p:nvPr>
            <p:custDataLst>
              <p:tags r:id="rId4"/>
            </p:custDataLst>
          </p:nvPr>
        </p:nvSpPr>
        <p:spPr bwMode="gray">
          <a:xfrm>
            <a:off x="623837" y="404664"/>
            <a:ext cx="7056339" cy="1656000"/>
          </a:xfrm>
          <a:prstGeom prst="rect">
            <a:avLst/>
          </a:prstGeom>
        </p:spPr>
        <p:txBody>
          <a:bodyPr wrap="square">
            <a:noAutofit/>
          </a:bodyPr>
          <a:lstStyle/>
          <a:p>
            <a:pPr lvl="0">
              <a:tabLst>
                <a:tab pos="361950" algn="l"/>
                <a:tab pos="723900" algn="l"/>
              </a:tabLst>
              <a:defRPr/>
            </a:pPr>
            <a:r>
              <a:rPr lang="en-US" sz="5400">
                <a:solidFill>
                  <a:schemeClr val="accent4"/>
                </a:solidFill>
                <a:latin typeface="Merck" panose="02060803030401040103" pitchFamily="18" charset="0"/>
              </a:rPr>
              <a:t>Objective</a:t>
            </a:r>
            <a:endParaRPr kumimoji="0" lang="en-US" sz="3600" b="0" i="0" u="none" strike="noStrike" kern="1200" cap="none" spc="0" normalizeH="0" baseline="0" noProof="0">
              <a:ln>
                <a:noFill/>
              </a:ln>
              <a:solidFill>
                <a:schemeClr val="accent4"/>
              </a:solidFill>
              <a:effectLst/>
              <a:uLnTx/>
              <a:uFillTx/>
              <a:latin typeface="Verdana"/>
              <a:ea typeface="+mn-ea"/>
              <a:cs typeface="+mn-cs"/>
            </a:endParaRPr>
          </a:p>
        </p:txBody>
      </p:sp>
      <p:grpSp>
        <p:nvGrpSpPr>
          <p:cNvPr id="15" name="Logo Merck">
            <a:extLst>
              <a:ext uri="{FF2B5EF4-FFF2-40B4-BE49-F238E27FC236}">
                <a16:creationId xmlns:a16="http://schemas.microsoft.com/office/drawing/2014/main" id="{24DFB1D7-8968-4476-9FC7-30024879AEE6}"/>
              </a:ext>
            </a:extLst>
          </p:cNvPr>
          <p:cNvGrpSpPr>
            <a:grpSpLocks noChangeAspect="1"/>
          </p:cNvGrpSpPr>
          <p:nvPr>
            <p:custDataLst>
              <p:tags r:id="rId5"/>
            </p:custDataLst>
          </p:nvPr>
        </p:nvGrpSpPr>
        <p:grpSpPr bwMode="gray">
          <a:xfrm>
            <a:off x="10539522" y="6440320"/>
            <a:ext cx="1028592" cy="162000"/>
            <a:chOff x="-4548188" y="3063875"/>
            <a:chExt cx="2741613" cy="431800"/>
          </a:xfrm>
          <a:solidFill>
            <a:schemeClr val="bg2"/>
          </a:solidFill>
        </p:grpSpPr>
        <p:sp>
          <p:nvSpPr>
            <p:cNvPr id="16" name="Logo K">
              <a:extLst>
                <a:ext uri="{FF2B5EF4-FFF2-40B4-BE49-F238E27FC236}">
                  <a16:creationId xmlns:a16="http://schemas.microsoft.com/office/drawing/2014/main" id="{80A190FE-FCCE-4A41-98A5-EB303ADBC571}"/>
                </a:ext>
              </a:extLst>
            </p:cNvPr>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B4DC96"/>
                </a:solidFill>
              </a:endParaRPr>
            </a:p>
          </p:txBody>
        </p:sp>
        <p:sp>
          <p:nvSpPr>
            <p:cNvPr id="17" name="Logo C">
              <a:extLst>
                <a:ext uri="{FF2B5EF4-FFF2-40B4-BE49-F238E27FC236}">
                  <a16:creationId xmlns:a16="http://schemas.microsoft.com/office/drawing/2014/main" id="{A547C739-9081-4A8D-9D93-7E314D44ECD2}"/>
                </a:ext>
              </a:extLst>
            </p:cNvPr>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B4DC96"/>
                </a:solidFill>
              </a:endParaRPr>
            </a:p>
          </p:txBody>
        </p:sp>
        <p:sp>
          <p:nvSpPr>
            <p:cNvPr id="26" name="Logo R">
              <a:extLst>
                <a:ext uri="{FF2B5EF4-FFF2-40B4-BE49-F238E27FC236}">
                  <a16:creationId xmlns:a16="http://schemas.microsoft.com/office/drawing/2014/main" id="{631E7E3C-C825-4AFC-AF32-66E25BA8E8CC}"/>
                </a:ext>
              </a:extLst>
            </p:cNvPr>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B4DC96"/>
                </a:solidFill>
              </a:endParaRPr>
            </a:p>
          </p:txBody>
        </p:sp>
        <p:sp>
          <p:nvSpPr>
            <p:cNvPr id="27" name="Logo E">
              <a:extLst>
                <a:ext uri="{FF2B5EF4-FFF2-40B4-BE49-F238E27FC236}">
                  <a16:creationId xmlns:a16="http://schemas.microsoft.com/office/drawing/2014/main" id="{4505FE74-F0E9-476A-90A1-22AD2C766D0D}"/>
                </a:ext>
              </a:extLst>
            </p:cNvPr>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B4DC96"/>
                </a:solidFill>
              </a:endParaRPr>
            </a:p>
          </p:txBody>
        </p:sp>
        <p:sp>
          <p:nvSpPr>
            <p:cNvPr id="31" name="Logo M">
              <a:extLst>
                <a:ext uri="{FF2B5EF4-FFF2-40B4-BE49-F238E27FC236}">
                  <a16:creationId xmlns:a16="http://schemas.microsoft.com/office/drawing/2014/main" id="{BBC91B25-0EE7-4F9F-A053-082B79F8E01F}"/>
                </a:ext>
              </a:extLst>
            </p:cNvPr>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B4DC96"/>
                </a:solidFill>
              </a:endParaRPr>
            </a:p>
          </p:txBody>
        </p:sp>
      </p:grpSp>
    </p:spTree>
    <p:custDataLst>
      <p:tags r:id="rId1"/>
    </p:custDataLst>
    <p:extLst>
      <p:ext uri="{BB962C8B-B14F-4D97-AF65-F5344CB8AC3E}">
        <p14:creationId xmlns:p14="http://schemas.microsoft.com/office/powerpoint/2010/main" val="6944837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8E88944-382E-C9EF-781F-8F2302F5FA03}"/>
              </a:ext>
            </a:extLst>
          </p:cNvPr>
          <p:cNvSpPr>
            <a:spLocks noGrp="1"/>
          </p:cNvSpPr>
          <p:nvPr>
            <p:ph sz="quarter" idx="14"/>
          </p:nvPr>
        </p:nvSpPr>
        <p:spPr>
          <a:xfrm>
            <a:off x="623888" y="1402697"/>
            <a:ext cx="10830175" cy="4608511"/>
          </a:xfrm>
        </p:spPr>
        <p:txBody>
          <a:bodyPr/>
          <a:lstStyle/>
          <a:p>
            <a:r>
              <a:rPr lang="en-US"/>
              <a:t>Propose a prototype for automatic discovery of industrial devices on a network and their registration in an asset management system: </a:t>
            </a:r>
          </a:p>
          <a:p>
            <a:pPr marL="285750" indent="-285750">
              <a:buFont typeface="Wingdings" panose="05000000000000000000" pitchFamily="2" charset="2"/>
              <a:buChar char="à"/>
            </a:pPr>
            <a:r>
              <a:rPr lang="en-US" altLang="zh-CN">
                <a:sym typeface="Wingdings" panose="05000000000000000000" pitchFamily="2" charset="2"/>
              </a:rPr>
              <a:t>Interact with OPC UA servers</a:t>
            </a:r>
          </a:p>
          <a:p>
            <a:pPr marL="285750" indent="-285750">
              <a:buFont typeface="Wingdings" panose="05000000000000000000" pitchFamily="2" charset="2"/>
              <a:buChar char="à"/>
            </a:pPr>
            <a:r>
              <a:rPr lang="en-US" altLang="zh-CN">
                <a:sym typeface="Wingdings" panose="05000000000000000000" pitchFamily="2" charset="2"/>
              </a:rPr>
              <a:t>Data collection</a:t>
            </a:r>
          </a:p>
          <a:p>
            <a:pPr marL="285750" indent="-285750">
              <a:buFont typeface="Wingdings" panose="05000000000000000000" pitchFamily="2" charset="2"/>
              <a:buChar char="à"/>
            </a:pPr>
            <a:r>
              <a:rPr lang="en-US" altLang="zh-CN">
                <a:sym typeface="Wingdings" panose="05000000000000000000" pitchFamily="2" charset="2"/>
              </a:rPr>
              <a:t>Integration and storage (snipe-it)</a:t>
            </a:r>
          </a:p>
          <a:p>
            <a:pPr marL="285750" indent="-285750">
              <a:buFont typeface="Wingdings" panose="05000000000000000000" pitchFamily="2" charset="2"/>
              <a:buChar char="à"/>
            </a:pPr>
            <a:r>
              <a:rPr lang="en-US" altLang="zh-CN">
                <a:sym typeface="Wingdings" panose="05000000000000000000" pitchFamily="2" charset="2"/>
              </a:rPr>
              <a:t>Asset Check-in &amp; Check-out</a:t>
            </a:r>
            <a:endParaRPr lang="en-US" altLang="zh-CN"/>
          </a:p>
          <a:p>
            <a:endParaRPr lang="en-US" altLang="zh-CN"/>
          </a:p>
        </p:txBody>
      </p:sp>
      <p:sp>
        <p:nvSpPr>
          <p:cNvPr id="3" name="Text Placeholder 2">
            <a:extLst>
              <a:ext uri="{FF2B5EF4-FFF2-40B4-BE49-F238E27FC236}">
                <a16:creationId xmlns:a16="http://schemas.microsoft.com/office/drawing/2014/main" id="{E2C2FF65-CF30-8057-76A7-39DA90F9EBD2}"/>
              </a:ext>
            </a:extLst>
          </p:cNvPr>
          <p:cNvSpPr>
            <a:spLocks noGrp="1"/>
          </p:cNvSpPr>
          <p:nvPr>
            <p:ph type="body" sz="quarter" idx="13"/>
          </p:nvPr>
        </p:nvSpPr>
        <p:spPr>
          <a:xfrm>
            <a:off x="623888" y="383212"/>
            <a:ext cx="10944225" cy="398144"/>
          </a:xfrm>
        </p:spPr>
        <p:txBody>
          <a:bodyPr/>
          <a:lstStyle/>
          <a:p>
            <a:endParaRPr lang="en-US" altLang="zh-CN"/>
          </a:p>
        </p:txBody>
      </p:sp>
      <p:sp>
        <p:nvSpPr>
          <p:cNvPr id="4" name="Title 3">
            <a:extLst>
              <a:ext uri="{FF2B5EF4-FFF2-40B4-BE49-F238E27FC236}">
                <a16:creationId xmlns:a16="http://schemas.microsoft.com/office/drawing/2014/main" id="{0D821D37-FBA1-C5F9-E52E-B3E13106BED8}"/>
              </a:ext>
            </a:extLst>
          </p:cNvPr>
          <p:cNvSpPr>
            <a:spLocks noGrp="1"/>
          </p:cNvSpPr>
          <p:nvPr>
            <p:ph type="title"/>
          </p:nvPr>
        </p:nvSpPr>
        <p:spPr/>
        <p:txBody>
          <a:bodyPr/>
          <a:lstStyle/>
          <a:p>
            <a:r>
              <a:rPr lang="en-US" altLang="zh-CN" sz="2800"/>
              <a:t>Objectives of my project (prototype)</a:t>
            </a:r>
          </a:p>
        </p:txBody>
      </p:sp>
      <p:sp>
        <p:nvSpPr>
          <p:cNvPr id="5" name="Footer Placeholder 4">
            <a:extLst>
              <a:ext uri="{FF2B5EF4-FFF2-40B4-BE49-F238E27FC236}">
                <a16:creationId xmlns:a16="http://schemas.microsoft.com/office/drawing/2014/main" id="{1209BF82-0688-DB4A-CC0A-93EAB5A27EAC}"/>
              </a:ext>
            </a:extLst>
          </p:cNvPr>
          <p:cNvSpPr>
            <a:spLocks noGrp="1"/>
          </p:cNvSpPr>
          <p:nvPr>
            <p:ph type="ftr" sz="quarter" idx="15"/>
          </p:nvPr>
        </p:nvSpPr>
        <p:spPr/>
        <p:txBody>
          <a:bodyPr/>
          <a:lstStyle/>
          <a:p>
            <a:r>
              <a:rPr lang="en-US"/>
              <a:t>Asset Management 28/03/2025</a:t>
            </a:r>
          </a:p>
        </p:txBody>
      </p:sp>
      <p:sp>
        <p:nvSpPr>
          <p:cNvPr id="6" name="Slide Number Placeholder 5">
            <a:extLst>
              <a:ext uri="{FF2B5EF4-FFF2-40B4-BE49-F238E27FC236}">
                <a16:creationId xmlns:a16="http://schemas.microsoft.com/office/drawing/2014/main" id="{632B678A-37AC-B4B3-AE63-0CAEBC6D2686}"/>
              </a:ext>
            </a:extLst>
          </p:cNvPr>
          <p:cNvSpPr>
            <a:spLocks noGrp="1"/>
          </p:cNvSpPr>
          <p:nvPr>
            <p:ph type="sldNum" sz="quarter" idx="16"/>
          </p:nvPr>
        </p:nvSpPr>
        <p:spPr/>
        <p:txBody>
          <a:bodyPr/>
          <a:lstStyle/>
          <a:p>
            <a:fld id="{FD5E7EB4-4CDF-47BB-AF16-07782904B863}" type="slidenum">
              <a:rPr lang="en-US" smtClean="0"/>
              <a:pPr/>
              <a:t>6</a:t>
            </a:fld>
            <a:endParaRPr lang="en-US"/>
          </a:p>
        </p:txBody>
      </p:sp>
      <p:sp>
        <p:nvSpPr>
          <p:cNvPr id="7" name="Rectangle: Rounded Corners 6">
            <a:extLst>
              <a:ext uri="{FF2B5EF4-FFF2-40B4-BE49-F238E27FC236}">
                <a16:creationId xmlns:a16="http://schemas.microsoft.com/office/drawing/2014/main" id="{B4259E3F-45A5-4A91-1C04-756FFD232008}"/>
              </a:ext>
            </a:extLst>
          </p:cNvPr>
          <p:cNvSpPr/>
          <p:nvPr/>
        </p:nvSpPr>
        <p:spPr bwMode="gray">
          <a:xfrm>
            <a:off x="10612148" y="361009"/>
            <a:ext cx="955964" cy="507077"/>
          </a:xfrm>
          <a:prstGeom prst="roundRect">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r>
              <a:rPr lang="fr-FR" altLang="zh-CN" sz="1600" kern="0">
                <a:solidFill>
                  <a:srgbClr val="FFFFFF"/>
                </a:solidFill>
                <a:latin typeface="Verdana"/>
              </a:rPr>
              <a:t>Julien</a:t>
            </a:r>
            <a:endParaRPr lang="zh-CN" altLang="fr-FR" sz="1600" kern="0">
              <a:solidFill>
                <a:srgbClr val="FFFFFF"/>
              </a:solidFill>
              <a:latin typeface="Verdana"/>
            </a:endParaRPr>
          </a:p>
        </p:txBody>
      </p:sp>
    </p:spTree>
    <p:extLst>
      <p:ext uri="{BB962C8B-B14F-4D97-AF65-F5344CB8AC3E}">
        <p14:creationId xmlns:p14="http://schemas.microsoft.com/office/powerpoint/2010/main" val="6758157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3067760D-F397-F6CE-3D2C-D6C47E4A92CB}"/>
              </a:ext>
            </a:extLst>
          </p:cNvPr>
          <p:cNvSpPr>
            <a:spLocks noGrp="1"/>
          </p:cNvSpPr>
          <p:nvPr>
            <p:ph type="body" sz="quarter" idx="13"/>
          </p:nvPr>
        </p:nvSpPr>
        <p:spPr/>
        <p:txBody>
          <a:bodyPr/>
          <a:lstStyle/>
          <a:p>
            <a:r>
              <a:rPr lang="en-US"/>
              <a:t>02</a:t>
            </a:r>
          </a:p>
        </p:txBody>
      </p:sp>
      <p:sp>
        <p:nvSpPr>
          <p:cNvPr id="8" name="Title 7">
            <a:extLst>
              <a:ext uri="{FF2B5EF4-FFF2-40B4-BE49-F238E27FC236}">
                <a16:creationId xmlns:a16="http://schemas.microsoft.com/office/drawing/2014/main" id="{FF0F8BD7-7609-2AC6-D79A-1B0DB4C00173}"/>
              </a:ext>
            </a:extLst>
          </p:cNvPr>
          <p:cNvSpPr>
            <a:spLocks noGrp="1"/>
          </p:cNvSpPr>
          <p:nvPr>
            <p:ph type="title"/>
          </p:nvPr>
        </p:nvSpPr>
        <p:spPr/>
        <p:txBody>
          <a:bodyPr/>
          <a:lstStyle/>
          <a:p>
            <a:r>
              <a:rPr lang="fr-FR"/>
              <a:t>what is « Asset Management » ?</a:t>
            </a:r>
            <a:endParaRPr lang="en-US"/>
          </a:p>
        </p:txBody>
      </p:sp>
    </p:spTree>
    <p:extLst>
      <p:ext uri="{BB962C8B-B14F-4D97-AF65-F5344CB8AC3E}">
        <p14:creationId xmlns:p14="http://schemas.microsoft.com/office/powerpoint/2010/main" val="1476241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8E88944-382E-C9EF-781F-8F2302F5FA03}"/>
              </a:ext>
            </a:extLst>
          </p:cNvPr>
          <p:cNvSpPr>
            <a:spLocks noGrp="1"/>
          </p:cNvSpPr>
          <p:nvPr>
            <p:ph sz="quarter" idx="14"/>
          </p:nvPr>
        </p:nvSpPr>
        <p:spPr>
          <a:xfrm>
            <a:off x="623888" y="1402697"/>
            <a:ext cx="10944227" cy="4290645"/>
          </a:xfrm>
        </p:spPr>
        <p:txBody>
          <a:bodyPr/>
          <a:lstStyle/>
          <a:p>
            <a:pPr marL="0" indent="0">
              <a:buNone/>
            </a:pPr>
            <a:r>
              <a:rPr lang="en-US" altLang="zh-CN" dirty="0"/>
              <a:t>The </a:t>
            </a:r>
            <a:r>
              <a:rPr lang="en-US" altLang="zh-CN" b="1" dirty="0"/>
              <a:t>actual problem </a:t>
            </a:r>
            <a:r>
              <a:rPr lang="en-US" altLang="zh-CN" dirty="0"/>
              <a:t>in DI is that the Smart Components are not really organized.</a:t>
            </a:r>
          </a:p>
          <a:p>
            <a:pPr marL="0" indent="0">
              <a:buNone/>
            </a:pPr>
            <a:endParaRPr lang="en-US" altLang="zh-CN" dirty="0"/>
          </a:p>
          <a:p>
            <a:pPr marL="285750" indent="-285750">
              <a:buFontTx/>
              <a:buChar char="-"/>
            </a:pPr>
            <a:r>
              <a:rPr lang="en-US" altLang="zh-CN" b="1" dirty="0"/>
              <a:t>Lack of Visibility </a:t>
            </a:r>
            <a:r>
              <a:rPr lang="en-US" altLang="zh-CN" dirty="0">
                <a:sym typeface="Wingdings" panose="05000000000000000000" pitchFamily="2" charset="2"/>
              </a:rPr>
              <a:t> the team do not have all the information about a Smart Component. So, it’s difficult to make decisions about allocation.</a:t>
            </a:r>
          </a:p>
          <a:p>
            <a:pPr marL="285750" indent="-285750">
              <a:buFontTx/>
              <a:buChar char="-"/>
            </a:pPr>
            <a:endParaRPr lang="en-US" altLang="zh-CN" dirty="0">
              <a:sym typeface="Wingdings" panose="05000000000000000000" pitchFamily="2" charset="2"/>
            </a:endParaRPr>
          </a:p>
          <a:p>
            <a:pPr marL="285750" indent="-285750">
              <a:buFontTx/>
              <a:buChar char="-"/>
            </a:pPr>
            <a:r>
              <a:rPr lang="en-US" altLang="zh-CN" b="1" dirty="0">
                <a:sym typeface="Wingdings" panose="05000000000000000000" pitchFamily="2" charset="2"/>
              </a:rPr>
              <a:t>Ineffective Planning </a:t>
            </a:r>
            <a:r>
              <a:rPr lang="en-US" altLang="zh-CN" dirty="0">
                <a:sym typeface="Wingdings" panose="05000000000000000000" pitchFamily="2" charset="2"/>
              </a:rPr>
              <a:t> A lack of data on asset performance can hinder strategic planning.</a:t>
            </a:r>
          </a:p>
          <a:p>
            <a:pPr marL="285750" indent="-285750">
              <a:buFontTx/>
              <a:buChar char="-"/>
            </a:pPr>
            <a:endParaRPr lang="en-US" altLang="zh-CN" dirty="0">
              <a:sym typeface="Wingdings" panose="05000000000000000000" pitchFamily="2" charset="2"/>
            </a:endParaRPr>
          </a:p>
          <a:p>
            <a:pPr marL="285750" indent="-285750">
              <a:buFontTx/>
              <a:buChar char="-"/>
            </a:pPr>
            <a:r>
              <a:rPr lang="en-US" altLang="zh-CN" b="1" dirty="0">
                <a:sym typeface="Wingdings" panose="05000000000000000000" pitchFamily="2" charset="2"/>
              </a:rPr>
              <a:t>Inefficiency </a:t>
            </a:r>
            <a:r>
              <a:rPr lang="en-US" altLang="zh-CN" dirty="0">
                <a:sym typeface="Wingdings" panose="05000000000000000000" pitchFamily="2" charset="2"/>
              </a:rPr>
              <a:t> Without proper tracking, the team may struggle to locate equipment, so they waste a lot of time.</a:t>
            </a:r>
          </a:p>
          <a:p>
            <a:pPr marL="285750" indent="-285750">
              <a:buFontTx/>
              <a:buChar char="-"/>
            </a:pPr>
            <a:endParaRPr lang="en-US" altLang="zh-CN" dirty="0">
              <a:sym typeface="Wingdings" panose="05000000000000000000" pitchFamily="2" charset="2"/>
            </a:endParaRPr>
          </a:p>
          <a:p>
            <a:pPr marL="285750" indent="-285750">
              <a:buFontTx/>
              <a:buChar char="-"/>
            </a:pPr>
            <a:r>
              <a:rPr lang="en-US" altLang="zh-CN" b="1" dirty="0">
                <a:sym typeface="Wingdings" panose="05000000000000000000" pitchFamily="2" charset="2"/>
              </a:rPr>
              <a:t>Reduce Accountability </a:t>
            </a:r>
            <a:r>
              <a:rPr lang="en-US" altLang="zh-CN" dirty="0">
                <a:sym typeface="Wingdings" panose="05000000000000000000" pitchFamily="2" charset="2"/>
              </a:rPr>
              <a:t> Without a clear system of tracking who is using which asset, it can lead to potential misuse or loss of equipment.</a:t>
            </a:r>
          </a:p>
          <a:p>
            <a:pPr marL="285750" indent="-285750">
              <a:buFontTx/>
              <a:buChar char="-"/>
            </a:pPr>
            <a:endParaRPr lang="en-US" altLang="zh-CN" dirty="0">
              <a:sym typeface="Wingdings" panose="05000000000000000000" pitchFamily="2" charset="2"/>
            </a:endParaRPr>
          </a:p>
        </p:txBody>
      </p:sp>
      <p:sp>
        <p:nvSpPr>
          <p:cNvPr id="3" name="Text Placeholder 2">
            <a:extLst>
              <a:ext uri="{FF2B5EF4-FFF2-40B4-BE49-F238E27FC236}">
                <a16:creationId xmlns:a16="http://schemas.microsoft.com/office/drawing/2014/main" id="{E2C2FF65-CF30-8057-76A7-39DA90F9EBD2}"/>
              </a:ext>
            </a:extLst>
          </p:cNvPr>
          <p:cNvSpPr>
            <a:spLocks noGrp="1"/>
          </p:cNvSpPr>
          <p:nvPr>
            <p:ph type="body" sz="quarter" idx="13"/>
          </p:nvPr>
        </p:nvSpPr>
        <p:spPr>
          <a:xfrm>
            <a:off x="623888" y="383212"/>
            <a:ext cx="10944225" cy="398144"/>
          </a:xfrm>
        </p:spPr>
        <p:txBody>
          <a:bodyPr/>
          <a:lstStyle/>
          <a:p>
            <a:endParaRPr lang="en-US" altLang="zh-CN"/>
          </a:p>
        </p:txBody>
      </p:sp>
      <p:sp>
        <p:nvSpPr>
          <p:cNvPr id="4" name="Title 3">
            <a:extLst>
              <a:ext uri="{FF2B5EF4-FFF2-40B4-BE49-F238E27FC236}">
                <a16:creationId xmlns:a16="http://schemas.microsoft.com/office/drawing/2014/main" id="{0D821D37-FBA1-C5F9-E52E-B3E13106BED8}"/>
              </a:ext>
            </a:extLst>
          </p:cNvPr>
          <p:cNvSpPr>
            <a:spLocks noGrp="1"/>
          </p:cNvSpPr>
          <p:nvPr>
            <p:ph type="title"/>
          </p:nvPr>
        </p:nvSpPr>
        <p:spPr/>
        <p:txBody>
          <a:bodyPr/>
          <a:lstStyle/>
          <a:p>
            <a:r>
              <a:rPr lang="en-US" altLang="zh-CN" sz="2800"/>
              <a:t>Asset Management: What is it ?</a:t>
            </a:r>
          </a:p>
        </p:txBody>
      </p:sp>
      <p:sp>
        <p:nvSpPr>
          <p:cNvPr id="5" name="Footer Placeholder 4">
            <a:extLst>
              <a:ext uri="{FF2B5EF4-FFF2-40B4-BE49-F238E27FC236}">
                <a16:creationId xmlns:a16="http://schemas.microsoft.com/office/drawing/2014/main" id="{1209BF82-0688-DB4A-CC0A-93EAB5A27EAC}"/>
              </a:ext>
            </a:extLst>
          </p:cNvPr>
          <p:cNvSpPr>
            <a:spLocks noGrp="1"/>
          </p:cNvSpPr>
          <p:nvPr>
            <p:ph type="ftr" sz="quarter" idx="15"/>
          </p:nvPr>
        </p:nvSpPr>
        <p:spPr>
          <a:xfrm>
            <a:off x="3067950" y="6063925"/>
            <a:ext cx="1419259" cy="45719"/>
          </a:xfrm>
        </p:spPr>
        <p:txBody>
          <a:bodyPr/>
          <a:lstStyle/>
          <a:p>
            <a:r>
              <a:rPr lang="en-US"/>
              <a:t>Asset Management 28/03/2025</a:t>
            </a:r>
          </a:p>
        </p:txBody>
      </p:sp>
      <p:sp>
        <p:nvSpPr>
          <p:cNvPr id="6" name="Slide Number Placeholder 5">
            <a:extLst>
              <a:ext uri="{FF2B5EF4-FFF2-40B4-BE49-F238E27FC236}">
                <a16:creationId xmlns:a16="http://schemas.microsoft.com/office/drawing/2014/main" id="{632B678A-37AC-B4B3-AE63-0CAEBC6D2686}"/>
              </a:ext>
            </a:extLst>
          </p:cNvPr>
          <p:cNvSpPr>
            <a:spLocks noGrp="1"/>
          </p:cNvSpPr>
          <p:nvPr>
            <p:ph type="sldNum" sz="quarter" idx="16"/>
          </p:nvPr>
        </p:nvSpPr>
        <p:spPr/>
        <p:txBody>
          <a:bodyPr/>
          <a:lstStyle/>
          <a:p>
            <a:fld id="{FD5E7EB4-4CDF-47BB-AF16-07782904B863}" type="slidenum">
              <a:rPr lang="en-US" smtClean="0"/>
              <a:pPr/>
              <a:t>8</a:t>
            </a:fld>
            <a:endParaRPr lang="en-US"/>
          </a:p>
        </p:txBody>
      </p:sp>
      <p:sp>
        <p:nvSpPr>
          <p:cNvPr id="7" name="Rectangle: Rounded Corners 6">
            <a:extLst>
              <a:ext uri="{FF2B5EF4-FFF2-40B4-BE49-F238E27FC236}">
                <a16:creationId xmlns:a16="http://schemas.microsoft.com/office/drawing/2014/main" id="{B4259E3F-45A5-4A91-1C04-756FFD232008}"/>
              </a:ext>
            </a:extLst>
          </p:cNvPr>
          <p:cNvSpPr/>
          <p:nvPr/>
        </p:nvSpPr>
        <p:spPr bwMode="gray">
          <a:xfrm>
            <a:off x="10612149" y="440224"/>
            <a:ext cx="955964" cy="507077"/>
          </a:xfrm>
          <a:prstGeom prst="roundRect">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r>
              <a:rPr lang="fr-FR" altLang="zh-CN" sz="1600" kern="0">
                <a:solidFill>
                  <a:srgbClr val="FFFFFF"/>
                </a:solidFill>
                <a:latin typeface="Verdana"/>
              </a:rPr>
              <a:t>Julien</a:t>
            </a:r>
            <a:endParaRPr lang="zh-CN" altLang="fr-FR" sz="1600" kern="0">
              <a:solidFill>
                <a:srgbClr val="FFFFFF"/>
              </a:solidFill>
              <a:latin typeface="Verdana"/>
            </a:endParaRPr>
          </a:p>
        </p:txBody>
      </p:sp>
      <p:pic>
        <p:nvPicPr>
          <p:cNvPr id="2052" name="Picture 4" descr="996 600+ Loupe Photos, taleaux et images libre de droits ...">
            <a:extLst>
              <a:ext uri="{FF2B5EF4-FFF2-40B4-BE49-F238E27FC236}">
                <a16:creationId xmlns:a16="http://schemas.microsoft.com/office/drawing/2014/main" id="{710B26E2-623D-6974-EDAD-03967BF8EBE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2587" y="1977242"/>
            <a:ext cx="606163" cy="606163"/>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Faculté des Sciences de l'UM">
            <a:extLst>
              <a:ext uri="{FF2B5EF4-FFF2-40B4-BE49-F238E27FC236}">
                <a16:creationId xmlns:a16="http://schemas.microsoft.com/office/drawing/2014/main" id="{FE42EC57-11E9-E730-1656-A5A37250AA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1081" y="2960436"/>
            <a:ext cx="587114" cy="56715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154,900+ Missing Equipment Stock Illustrations, Royalty-Free ...">
            <a:extLst>
              <a:ext uri="{FF2B5EF4-FFF2-40B4-BE49-F238E27FC236}">
                <a16:creationId xmlns:a16="http://schemas.microsoft.com/office/drawing/2014/main" id="{AF35EDDA-0958-E01F-0408-F24A468C67A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2876" y="4721730"/>
            <a:ext cx="725584" cy="725584"/>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190,800+ Inefficiency Stock Photos, Pictures &amp; Royalty-Free Images - iStock  | Inefficiency icon, Energy inefficiency">
            <a:extLst>
              <a:ext uri="{FF2B5EF4-FFF2-40B4-BE49-F238E27FC236}">
                <a16:creationId xmlns:a16="http://schemas.microsoft.com/office/drawing/2014/main" id="{7BDAD1A8-27AA-A0FF-4BC7-A733A0D8678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1351" t="20859" r="17519" b="19075"/>
          <a:stretch/>
        </p:blipFill>
        <p:spPr bwMode="auto">
          <a:xfrm>
            <a:off x="216925" y="3825158"/>
            <a:ext cx="581825" cy="5717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67007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8E88944-382E-C9EF-781F-8F2302F5FA03}"/>
              </a:ext>
            </a:extLst>
          </p:cNvPr>
          <p:cNvSpPr>
            <a:spLocks noGrp="1"/>
          </p:cNvSpPr>
          <p:nvPr>
            <p:ph sz="quarter" idx="14"/>
          </p:nvPr>
        </p:nvSpPr>
        <p:spPr>
          <a:xfrm>
            <a:off x="623888" y="1402698"/>
            <a:ext cx="10944227" cy="2743340"/>
          </a:xfrm>
        </p:spPr>
        <p:txBody>
          <a:bodyPr/>
          <a:lstStyle/>
          <a:p>
            <a:pPr marL="0" indent="0">
              <a:buNone/>
            </a:pPr>
            <a:r>
              <a:rPr lang="en-US" dirty="0"/>
              <a:t>Asset management involves cataloging, tracking, and optimizing the management of an organization's equipment and resources to maximize their performance and overall value.</a:t>
            </a:r>
          </a:p>
          <a:p>
            <a:pPr marL="0" indent="0">
              <a:buNone/>
            </a:pPr>
            <a:endParaRPr lang="en-US" altLang="zh-CN" dirty="0"/>
          </a:p>
          <a:p>
            <a:pPr marL="0" indent="0">
              <a:buNone/>
            </a:pPr>
            <a:r>
              <a:rPr lang="en-US" dirty="0"/>
              <a:t>I’m using Snipe-it to evaluate and propose this solution. Snipe-it is an open-source software that facilitates IT asset management by enabling organizations to track asset details such as condition, location, and assigned users. It also supports software license management and maintenance tracking, allowing for better oversight and optimization of asset use.</a:t>
            </a:r>
          </a:p>
          <a:p>
            <a:pPr marL="0" indent="0">
              <a:buNone/>
            </a:pPr>
            <a:endParaRPr lang="en-US" altLang="zh-CN" dirty="0"/>
          </a:p>
          <a:p>
            <a:pPr marL="0" indent="0">
              <a:buNone/>
            </a:pPr>
            <a:r>
              <a:rPr lang="en-US" altLang="zh-CN" dirty="0"/>
              <a:t>I’m going to explain you all the features that Snipe-it is supporting!</a:t>
            </a:r>
          </a:p>
        </p:txBody>
      </p:sp>
      <p:sp>
        <p:nvSpPr>
          <p:cNvPr id="3" name="Text Placeholder 2">
            <a:extLst>
              <a:ext uri="{FF2B5EF4-FFF2-40B4-BE49-F238E27FC236}">
                <a16:creationId xmlns:a16="http://schemas.microsoft.com/office/drawing/2014/main" id="{E2C2FF65-CF30-8057-76A7-39DA90F9EBD2}"/>
              </a:ext>
            </a:extLst>
          </p:cNvPr>
          <p:cNvSpPr>
            <a:spLocks noGrp="1"/>
          </p:cNvSpPr>
          <p:nvPr>
            <p:ph type="body" sz="quarter" idx="13"/>
          </p:nvPr>
        </p:nvSpPr>
        <p:spPr>
          <a:xfrm>
            <a:off x="623888" y="383212"/>
            <a:ext cx="10944225" cy="398144"/>
          </a:xfrm>
        </p:spPr>
        <p:txBody>
          <a:bodyPr/>
          <a:lstStyle/>
          <a:p>
            <a:endParaRPr lang="en-US" altLang="zh-CN"/>
          </a:p>
        </p:txBody>
      </p:sp>
      <p:sp>
        <p:nvSpPr>
          <p:cNvPr id="4" name="Title 3">
            <a:extLst>
              <a:ext uri="{FF2B5EF4-FFF2-40B4-BE49-F238E27FC236}">
                <a16:creationId xmlns:a16="http://schemas.microsoft.com/office/drawing/2014/main" id="{0D821D37-FBA1-C5F9-E52E-B3E13106BED8}"/>
              </a:ext>
            </a:extLst>
          </p:cNvPr>
          <p:cNvSpPr>
            <a:spLocks noGrp="1"/>
          </p:cNvSpPr>
          <p:nvPr>
            <p:ph type="title"/>
          </p:nvPr>
        </p:nvSpPr>
        <p:spPr/>
        <p:txBody>
          <a:bodyPr/>
          <a:lstStyle/>
          <a:p>
            <a:r>
              <a:rPr lang="en-US" altLang="zh-CN" sz="2800"/>
              <a:t>Asset Management: What is it ?</a:t>
            </a:r>
          </a:p>
        </p:txBody>
      </p:sp>
      <p:sp>
        <p:nvSpPr>
          <p:cNvPr id="5" name="Footer Placeholder 4">
            <a:extLst>
              <a:ext uri="{FF2B5EF4-FFF2-40B4-BE49-F238E27FC236}">
                <a16:creationId xmlns:a16="http://schemas.microsoft.com/office/drawing/2014/main" id="{1209BF82-0688-DB4A-CC0A-93EAB5A27EAC}"/>
              </a:ext>
            </a:extLst>
          </p:cNvPr>
          <p:cNvSpPr>
            <a:spLocks noGrp="1"/>
          </p:cNvSpPr>
          <p:nvPr>
            <p:ph type="ftr" sz="quarter" idx="15"/>
          </p:nvPr>
        </p:nvSpPr>
        <p:spPr/>
        <p:txBody>
          <a:bodyPr/>
          <a:lstStyle/>
          <a:p>
            <a:r>
              <a:rPr lang="en-US"/>
              <a:t>Asset Management 28/03/2025</a:t>
            </a:r>
          </a:p>
        </p:txBody>
      </p:sp>
      <p:sp>
        <p:nvSpPr>
          <p:cNvPr id="6" name="Slide Number Placeholder 5">
            <a:extLst>
              <a:ext uri="{FF2B5EF4-FFF2-40B4-BE49-F238E27FC236}">
                <a16:creationId xmlns:a16="http://schemas.microsoft.com/office/drawing/2014/main" id="{632B678A-37AC-B4B3-AE63-0CAEBC6D2686}"/>
              </a:ext>
            </a:extLst>
          </p:cNvPr>
          <p:cNvSpPr>
            <a:spLocks noGrp="1"/>
          </p:cNvSpPr>
          <p:nvPr>
            <p:ph type="sldNum" sz="quarter" idx="16"/>
          </p:nvPr>
        </p:nvSpPr>
        <p:spPr/>
        <p:txBody>
          <a:bodyPr/>
          <a:lstStyle/>
          <a:p>
            <a:fld id="{FD5E7EB4-4CDF-47BB-AF16-07782904B863}" type="slidenum">
              <a:rPr lang="en-US" smtClean="0"/>
              <a:pPr/>
              <a:t>9</a:t>
            </a:fld>
            <a:endParaRPr lang="en-US"/>
          </a:p>
        </p:txBody>
      </p:sp>
      <p:sp>
        <p:nvSpPr>
          <p:cNvPr id="7" name="Rectangle: Rounded Corners 6">
            <a:extLst>
              <a:ext uri="{FF2B5EF4-FFF2-40B4-BE49-F238E27FC236}">
                <a16:creationId xmlns:a16="http://schemas.microsoft.com/office/drawing/2014/main" id="{B4259E3F-45A5-4A91-1C04-756FFD232008}"/>
              </a:ext>
            </a:extLst>
          </p:cNvPr>
          <p:cNvSpPr/>
          <p:nvPr/>
        </p:nvSpPr>
        <p:spPr bwMode="gray">
          <a:xfrm>
            <a:off x="10612149" y="440224"/>
            <a:ext cx="955964" cy="507077"/>
          </a:xfrm>
          <a:prstGeom prst="roundRect">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r>
              <a:rPr lang="fr-FR" altLang="zh-CN" sz="1600" kern="0">
                <a:solidFill>
                  <a:srgbClr val="FFFFFF"/>
                </a:solidFill>
                <a:latin typeface="Verdana"/>
              </a:rPr>
              <a:t>Julien</a:t>
            </a:r>
            <a:endParaRPr lang="zh-CN" altLang="fr-FR" sz="1600" kern="0">
              <a:solidFill>
                <a:srgbClr val="FFFFFF"/>
              </a:solidFill>
              <a:latin typeface="Verdana"/>
            </a:endParaRPr>
          </a:p>
        </p:txBody>
      </p:sp>
      <p:pic>
        <p:nvPicPr>
          <p:cNvPr id="1028" name="Picture 4" descr="Snipe-IT Assets Management – Applications sur Google Play">
            <a:extLst>
              <a:ext uri="{FF2B5EF4-FFF2-40B4-BE49-F238E27FC236}">
                <a16:creationId xmlns:a16="http://schemas.microsoft.com/office/drawing/2014/main" id="{032C65B0-F8CD-D92D-FA78-473408497B6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36415" y="3291713"/>
            <a:ext cx="1357401" cy="13574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32212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VCT_STH" val="True"/>
  <p:tag name="MIO_GUID" val="b4bdf6d4-d7d8-4b29-83e2-c10605395c93"/>
  <p:tag name="MIO_EK" val="11185"/>
  <p:tag name="MIO_STRING_IGNORE_CHECKSUM_FOR_NEXT_SAVE" val="False"/>
  <p:tag name="MIO_EKGUID" val="b1962671-2780-495b-8a85-c2af53373931"/>
  <p:tag name="MIO_UPDATE" val="True"/>
  <p:tag name="MIO_VERSION" val="04.07.2022 10:14:30"/>
  <p:tag name="MIO_DBID" val="218709A9-2117-4AF1-A1EA-309C9A305E58"/>
  <p:tag name="MIO_LASTDOWNLOADED" val="16.02.2023 18:21:36.481"/>
  <p:tag name="MIO_OBJECTNAME" val="Text, Verdana, 16 pt, lorem ipsum dolor sit amet, consetetur sadipscing elitr, sed diam nonumy eirmod tempor invidunt ut labore et dolore magna aliquyam erat, sed diam voluptua. At vero eos et accusam et justo duo dolores  et ea rebum. Stet clita kasd gub"/>
  <p:tag name="MIO_LASTEDITORNAME" val="Jan Bellwinkel"/>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 name="EMPOWERBULLETV2" val="empowerBulletV2"/>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MIO_MST_COLOR_1" val="0,0,0,Dunkel 1"/>
  <p:tag name="MIO_MST_COLOR_2" val="255,255,255,Hell 1"/>
  <p:tag name="MIO_MST_COLOR_3" val="235,60,150,Dunkel 2"/>
  <p:tag name="MIO_MST_COLOR_4" val="45,190,205,Hell 2"/>
  <p:tag name="MIO_MST_COLOR_5" val="80,50,145,Akzent 1"/>
  <p:tag name="MIO_MST_COLOR_6" val="15,105,175,Akzent 2"/>
  <p:tag name="MIO_MST_COLOR_7" val="165,205,80,Akzent 3"/>
  <p:tag name="MIO_MST_COLOR_8" val="255,200,50,Akzent 4"/>
  <p:tag name="MIO_MST_COLOR_9" val="235,60,150,Akzent 5"/>
  <p:tag name="MIO_MST_COLOR_10" val="20,155,95,Akzent 6"/>
  <p:tag name="MIO_MST_COLOR_11" val="80,50,145,"/>
  <p:tag name="MIO_MST_COLOR_12" val="80,50,145,"/>
  <p:tag name="MIO_PRESI_FIRST_SLIDENUMBER" val="1"/>
  <p:tag name="MIO_FALLBACK_LAYOUT" val="3"/>
  <p:tag name="MIO_SHOW_DATE" val="False"/>
  <p:tag name="MIO_SHOW_FOOTER" val="True"/>
  <p:tag name="MIO_SHOW_PAGENUMBER" val="True"/>
  <p:tag name="MIO_AVOID_BLANK_LAYOUT" val="False"/>
  <p:tag name="MIO_CD_LAYOUT_VALID_AREA" val="False"/>
  <p:tag name="MIO_NUMBER_OF_VALID_LAYOUTS" val="33"/>
  <p:tag name="MIO_HDS" val="True"/>
  <p:tag name="MIO_EK" val="2529"/>
  <p:tag name="MIO_EKGUID" val="4d6beffb-5246-420c-a6d6-d9569b8f0fc9"/>
  <p:tag name="MIO_UPDATE" val="True"/>
  <p:tag name="MIO_VERSION" val="17.02.2017 15:54:53"/>
  <p:tag name="MIO_DBID" val="218709A9-2117-4AF1-A1EA-309C9A305E58"/>
  <p:tag name="MIO_LASTDOWNLOADED" val="24.02.2017 16:22:02"/>
  <p:tag name="MIO_OBJECTNAME" val="Merck EN"/>
  <p:tag name="MIO_LASTEDITORNAME" val="Michaela Kapalla"/>
</p:tagLst>
</file>

<file path=ppt/tags/tag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xml><?xml version="1.0" encoding="utf-8"?>
<p:tagLst xmlns:a="http://schemas.openxmlformats.org/drawingml/2006/main" xmlns:r="http://schemas.openxmlformats.org/officeDocument/2006/relationships" xmlns:p="http://schemas.openxmlformats.org/presentationml/2006/main">
  <p:tag name="MIO_EK_DESIGN" val="6789"/>
  <p:tag name="MIO_VERSION_DESIGN" val="26.02.2016 14:19:49"/>
  <p:tag name="MIO_DBID_DESIGN" val="218709A9-2117-4AF1-A1EA-309C9A305E57"/>
  <p:tag name="VCT_STH" val="True"/>
  <p:tag name="MIO_GUID" val="090df76c-e676-4137-b6df-16eb36bb2534"/>
  <p:tag name="MIO_STRING_IGNORE_CHECKSUM_FOR_NEXT_SAVE" val="False"/>
  <p:tag name="MIO_EKGUID" val="3bf183d3-9da4-42ba-bea1-513ee04ee2a2"/>
  <p:tag name="MIO_UPDATE" val="True"/>
  <p:tag name="MIO_VERSION" val="01.07.2022 08:42:00"/>
  <p:tag name="MIO_DBID" val="218709A9-2117-4AF1-A1EA-309C9A305E58"/>
  <p:tag name="MIO_LASTDOWNLOADED" val="03.02.2023 11:24:54.469"/>
  <p:tag name="MIO_OBJECTNAME" val="Text, Verdana, 16 pt, lorem nec pharetra venenatis, libero mi viverra ligula, sit amet molestie massa erat eu elit. Etiam wisi urna, commodo sit amet. Fusce posuere, magna sed pulvinar ultricies, purus lectus malesuada libero. Pellentesque habitant morbi"/>
  <p:tag name="MIO_LASTEDITORNAME" val="Jan Bellwinkel"/>
</p:tagLst>
</file>

<file path=ppt/tags/tag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xml><?xml version="1.0" encoding="utf-8"?>
<p:tagLst xmlns:a="http://schemas.openxmlformats.org/drawingml/2006/main" xmlns:r="http://schemas.openxmlformats.org/officeDocument/2006/relationships" xmlns:p="http://schemas.openxmlformats.org/presentationml/2006/main">
  <p:tag name="VCTCREATESHAPEHANDLED" val="0"/>
  <p:tag name="EMPOWERBULLETV2" val="empowerBulletV2"/>
</p:tagLst>
</file>

<file path=ppt/tags/tag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MIO_FALLBACK_LAYOUT" val="3"/>
  <p:tag name="MIO_SHOW_DATE" val="False"/>
  <p:tag name="MIO_SHOW_FOOTER" val="True"/>
  <p:tag name="MIO_SHOW_PAGENUMBER" val="True"/>
  <p:tag name="MIO_AVOID_BLANK_LAYOUT" val="True"/>
  <p:tag name="MIO_CD_LAYOUT_VALID_AREA" val="False"/>
  <p:tag name="MIO_NUMBER_OF_VALID_LAYOUTS" val="33"/>
  <p:tag name="MIO_HDS" val="True"/>
  <p:tag name="MIO_EK" val="2529"/>
  <p:tag name="MIO_EKGUID" val="4d6beffb-5246-420c-a6d6-d9569b8f0fc9"/>
  <p:tag name="MIO_UPDATE" val="True"/>
  <p:tag name="MIO_VERSION" val="17.02.2017 15:53:25"/>
  <p:tag name="MIO_DBID" val="218709A9-2117-4AF1-A1EA-309C9A305E58"/>
  <p:tag name="MIO_LASTDOWNLOADED" val="17.02.2017 15:53:25"/>
  <p:tag name="MIO_OBJECTNAME" val="Merck EN"/>
  <p:tag name="MIO_LASTEDITORNAME" val="Michaela Kapalla"/>
  <p:tag name="MIO_CDID" val="102a9723-2449-4cb9-a00f-91adf1e6ccc0"/>
  <p:tag name="MIO_PRESI_FIRST_SLIDENUMBER" val="1"/>
</p:tagLst>
</file>

<file path=ppt/tags/tag5.xml><?xml version="1.0" encoding="utf-8"?>
<p:tagLst xmlns:a="http://schemas.openxmlformats.org/drawingml/2006/main" xmlns:r="http://schemas.openxmlformats.org/officeDocument/2006/relationships" xmlns:p="http://schemas.openxmlformats.org/presentationml/2006/main">
  <p:tag name="MIO_EK" val="2529"/>
  <p:tag name="MIO_HDS" val="True"/>
  <p:tag name="MIO_EKGUID" val="26438dda-901f-4551-b626-4986675cfb05"/>
  <p:tag name="MIO_UPDATE" val="True"/>
  <p:tag name="MIO_DBID" val="218709A9-2117-4AF1-A1EA-309C9A305E58"/>
  <p:tag name="MIO_OBJECTNAME" val="Synthetic"/>
  <p:tag name="MIO_FALLBACK_LAYOUT" val="9"/>
  <p:tag name="MIO_SHOW_DATE" val="False"/>
  <p:tag name="MIO_SHOW_FOOTER" val="True"/>
  <p:tag name="MIO_SHOW_PAGENUMBER" val="True"/>
  <p:tag name="MIO_AVOID_BLANK_LAYOUT" val="True"/>
  <p:tag name="MIO_CD_LAYOUT_VALID_AREA" val="False"/>
  <p:tag name="MIO_NUMBER_OF_VALID_LAYOUTS" val="13"/>
  <p:tag name="MIO_VERSION" val="16.05.2022 14:54:26"/>
  <p:tag name="MIO_SKIPVERSION" val="01.01.0001 00:00:00"/>
  <p:tag name="MIO_LASTDOWNLOADED" val="03.02.2023 11:10:00.113"/>
  <p:tag name="MIO_CDID" val="cd699bd5-8d2d-456d-9c4a-b44014b1b6df"/>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Merck">
  <a:themeElements>
    <a:clrScheme name="Merck neu">
      <a:dk1>
        <a:srgbClr val="000000"/>
      </a:dk1>
      <a:lt1>
        <a:srgbClr val="FFFFFF"/>
      </a:lt1>
      <a:dk2>
        <a:srgbClr val="EB3C96"/>
      </a:dk2>
      <a:lt2>
        <a:srgbClr val="2DBECD"/>
      </a:lt2>
      <a:accent1>
        <a:srgbClr val="503291"/>
      </a:accent1>
      <a:accent2>
        <a:srgbClr val="0F69AF"/>
      </a:accent2>
      <a:accent3>
        <a:srgbClr val="A5CD50"/>
      </a:accent3>
      <a:accent4>
        <a:srgbClr val="FFC832"/>
      </a:accent4>
      <a:accent5>
        <a:srgbClr val="EB3C96"/>
      </a:accent5>
      <a:accent6>
        <a:srgbClr val="149B5F"/>
      </a:accent6>
      <a:hlink>
        <a:srgbClr val="503291"/>
      </a:hlink>
      <a:folHlink>
        <a:srgbClr val="503291"/>
      </a:folHlink>
    </a:clrScheme>
    <a:fontScheme name="Merck">
      <a:majorFont>
        <a:latin typeface="Verdana"/>
        <a:ea typeface=""/>
        <a:cs typeface=""/>
      </a:majorFont>
      <a:minorFont>
        <a:latin typeface="Verdana"/>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w="9525" cap="flat" cmpd="sng" algn="ctr">
          <a:noFill/>
          <a:prstDash val="solid"/>
        </a:ln>
        <a:effectLst/>
      </a:spPr>
      <a:bodyPr rtlCol="0" anchor="ctr" anchorCtr="0"/>
      <a:lstStyle>
        <a:defPPr marL="0" indent="0" algn="ctr">
          <a:spcBef>
            <a:spcPts val="300"/>
          </a:spcBef>
          <a:spcAft>
            <a:spcPts val="300"/>
          </a:spcAft>
          <a:buClr>
            <a:schemeClr val="bg1"/>
          </a:buClr>
          <a:buSzPct val="100000"/>
          <a:buFont typeface="Arial" panose="020B0604020202020204" pitchFamily="34" charset="0"/>
          <a:buNone/>
          <a:defRPr sz="1600" kern="0" dirty="0" err="1">
            <a:solidFill>
              <a:srgbClr val="FFFFFF"/>
            </a:solidFill>
            <a:latin typeface="Verdana"/>
          </a:defRPr>
        </a:defPPr>
      </a:lstStyle>
    </a:spDef>
    <a:lnDef>
      <a:spPr>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marR="0" algn="l" defTabSz="914400" rtl="0" eaLnBrk="1" fontAlgn="auto" latinLnBrk="0" hangingPunct="1">
          <a:lnSpc>
            <a:spcPct val="100000"/>
          </a:lnSpc>
          <a:spcBef>
            <a:spcPts val="300"/>
          </a:spcBef>
          <a:spcAft>
            <a:spcPts val="300"/>
          </a:spcAft>
          <a:buClr>
            <a:schemeClr val="accent1"/>
          </a:buClr>
          <a:buSzTx/>
          <a:tabLst/>
          <a:defRPr kumimoji="0" sz="1600" b="0" i="0" u="none" strike="noStrike" kern="1200" cap="none" spc="0" normalizeH="0" baseline="0" noProof="0" dirty="0" err="1">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defRPr>
        </a:defPPr>
      </a:lstStyle>
    </a:txDef>
  </a:objectDefaults>
  <a:extraClrSchemeLst/>
  <a:custClrLst>
    <a:custClr name="Rich Purple">
      <a:srgbClr val="503291"/>
    </a:custClr>
    <a:custClr name="Vibrant Magenta">
      <a:srgbClr val="EB3C96"/>
    </a:custClr>
    <a:custClr name="Sensitive Pink">
      <a:srgbClr val="E1C3CD"/>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ich Blue">
      <a:srgbClr val="0F69AF"/>
    </a:custClr>
    <a:custClr name="Vibrant Cyan">
      <a:srgbClr val="2DBECD"/>
    </a:custClr>
    <a:custClr name="Sensitive Blue">
      <a:srgbClr val="96D7D2"/>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ich Green">
      <a:srgbClr val="149B5F"/>
    </a:custClr>
    <a:custClr name="Vibrant Green">
      <a:srgbClr val="A5CD50"/>
    </a:custClr>
    <a:custClr name="Sensitive Green">
      <a:srgbClr val="B4DC96"/>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ich Red">
      <a:srgbClr val="E61E50"/>
    </a:custClr>
    <a:custClr name="Vibrant Yellow">
      <a:srgbClr val="FFC832"/>
    </a:custClr>
    <a:custClr name="Sensitive Yellow">
      <a:srgbClr val="FFDCB9"/>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Präsentation1" id="{81125E5F-C4B9-4301-A0B8-B04DE7FDD28E}" vid="{B2326518-78A2-4856-9F05-D8C30F68850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0E4A6448A9B7C4B98CA14A80880C6E3" ma:contentTypeVersion="14" ma:contentTypeDescription="Create a new document." ma:contentTypeScope="" ma:versionID="b581a09c90a64fd7c247ed6a9693766b">
  <xsd:schema xmlns:xsd="http://www.w3.org/2001/XMLSchema" xmlns:xs="http://www.w3.org/2001/XMLSchema" xmlns:p="http://schemas.microsoft.com/office/2006/metadata/properties" xmlns:ns2="f217fdca-d1b8-49f8-89bd-a4582a5cc198" xmlns:ns3="52f1df73-d73c-499e-b3e2-b69cbb8690cb" targetNamespace="http://schemas.microsoft.com/office/2006/metadata/properties" ma:root="true" ma:fieldsID="a5e47a92583d2cd0a4206577ef82a77f" ns2:_="" ns3:_="">
    <xsd:import namespace="f217fdca-d1b8-49f8-89bd-a4582a5cc198"/>
    <xsd:import namespace="52f1df73-d73c-499e-b3e2-b69cbb8690c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217fdca-d1b8-49f8-89bd-a4582a5cc1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cce2f110-134e-491c-b1fb-b64789dc5c11"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2f1df73-d73c-499e-b3e2-b69cbb8690c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3880d7e6-a485-459a-97e5-42348ce8b82d}" ma:internalName="TaxCatchAll" ma:showField="CatchAllData" ma:web="52f1df73-d73c-499e-b3e2-b69cbb8690c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f217fdca-d1b8-49f8-89bd-a4582a5cc198">
      <Terms xmlns="http://schemas.microsoft.com/office/infopath/2007/PartnerControls"/>
    </lcf76f155ced4ddcb4097134ff3c332f>
    <TaxCatchAll xmlns="52f1df73-d73c-499e-b3e2-b69cbb8690cb" xsi:nil="true"/>
    <SharedWithUsers xmlns="52f1df73-d73c-499e-b3e2-b69cbb8690cb">
      <UserInfo>
        <DisplayName>Jacek Fischbach</DisplayName>
        <AccountId>101</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031A8E6-B099-45E8-8A0B-B9EF79C6A3DE}">
  <ds:schemaRefs>
    <ds:schemaRef ds:uri="52f1df73-d73c-499e-b3e2-b69cbb8690cb"/>
    <ds:schemaRef ds:uri="f217fdca-d1b8-49f8-89bd-a4582a5cc19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E383DEE-CADA-416E-B181-842C4EA72C9E}">
  <ds:schemaRefs>
    <ds:schemaRef ds:uri="http://schemas.microsoft.com/office/2006/documentManagement/types"/>
    <ds:schemaRef ds:uri="http://schemas.microsoft.com/office/2006/metadata/properties"/>
    <ds:schemaRef ds:uri="52f1df73-d73c-499e-b3e2-b69cbb8690cb"/>
    <ds:schemaRef ds:uri="http://purl.org/dc/dcmitype/"/>
    <ds:schemaRef ds:uri="http://purl.org/dc/terms/"/>
    <ds:schemaRef ds:uri="http://schemas.openxmlformats.org/package/2006/metadata/core-properties"/>
    <ds:schemaRef ds:uri="http://purl.org/dc/elements/1.1/"/>
    <ds:schemaRef ds:uri="http://www.w3.org/XML/1998/namespace"/>
    <ds:schemaRef ds:uri="http://schemas.microsoft.com/office/infopath/2007/PartnerControls"/>
    <ds:schemaRef ds:uri="f217fdca-d1b8-49f8-89bd-a4582a5cc198"/>
  </ds:schemaRefs>
</ds:datastoreItem>
</file>

<file path=customXml/itemProps3.xml><?xml version="1.0" encoding="utf-8"?>
<ds:datastoreItem xmlns:ds="http://schemas.openxmlformats.org/officeDocument/2006/customXml" ds:itemID="{A3EF21FA-E6C4-4FF8-A292-110C0A0FA6D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894</Words>
  <Application>Microsoft Office PowerPoint</Application>
  <PresentationFormat>Widescreen</PresentationFormat>
  <Paragraphs>152</Paragraphs>
  <Slides>21</Slides>
  <Notes>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0" baseType="lpstr">
      <vt:lpstr>Arial</vt:lpstr>
      <vt:lpstr>Calibri</vt:lpstr>
      <vt:lpstr>Consolas</vt:lpstr>
      <vt:lpstr>Merck</vt:lpstr>
      <vt:lpstr>Symbol</vt:lpstr>
      <vt:lpstr>Verdana</vt:lpstr>
      <vt:lpstr>Wingdings</vt:lpstr>
      <vt:lpstr>Merck</vt:lpstr>
      <vt:lpstr>think-cell Slide</vt:lpstr>
      <vt:lpstr>Asset Management Snipe-it</vt:lpstr>
      <vt:lpstr>Context of the activity</vt:lpstr>
      <vt:lpstr>PowerPoint Presentation</vt:lpstr>
      <vt:lpstr>PowerPoint Presentation</vt:lpstr>
      <vt:lpstr>PowerPoint Presentation</vt:lpstr>
      <vt:lpstr>Objectives of my project (prototype)</vt:lpstr>
      <vt:lpstr>what is « Asset Management » ?</vt:lpstr>
      <vt:lpstr>Asset Management: What is it ?</vt:lpstr>
      <vt:lpstr>Asset Management: What is it ?</vt:lpstr>
      <vt:lpstr>Asset Management: What is it ? Presenting Snipe-it</vt:lpstr>
      <vt:lpstr>Asset Management     in Digital Innovation</vt:lpstr>
      <vt:lpstr>Asset Management in Digital Innovation</vt:lpstr>
      <vt:lpstr>Mid-internship demonstration of my project </vt:lpstr>
      <vt:lpstr>Diagram of the Twin Bench</vt:lpstr>
      <vt:lpstr>Diagram of the Twin Bench with my EC2</vt:lpstr>
      <vt:lpstr>Smart Component found  Creating Asset</vt:lpstr>
      <vt:lpstr>Smart Component found  Asset created</vt:lpstr>
      <vt:lpstr>PowerPoint Presentation</vt:lpstr>
      <vt:lpstr>Next Steps…</vt:lpstr>
      <vt:lpstr>PowerPoint Presentation</vt:lpstr>
      <vt:lpstr>Thank you everyon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Loic Fejoz</cp:lastModifiedBy>
  <cp:revision>1</cp:revision>
  <dcterms:created xsi:type="dcterms:W3CDTF">2023-02-03T10:08:13Z</dcterms:created>
  <dcterms:modified xsi:type="dcterms:W3CDTF">2025-03-27T21:48: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E4A6448A9B7C4B98CA14A80880C6E3</vt:lpwstr>
  </property>
  <property fmtid="{D5CDD505-2E9C-101B-9397-08002B2CF9AE}" pid="3" name="MediaServiceImageTags">
    <vt:lpwstr/>
  </property>
  <property fmtid="{D5CDD505-2E9C-101B-9397-08002B2CF9AE}" pid="4" name="MSIP_Label_3551e939-46ca-4a56-a9d5-fb166622f07a_Enabled">
    <vt:lpwstr>true</vt:lpwstr>
  </property>
  <property fmtid="{D5CDD505-2E9C-101B-9397-08002B2CF9AE}" pid="5" name="MSIP_Label_3551e939-46ca-4a56-a9d5-fb166622f07a_SetDate">
    <vt:lpwstr>2024-08-26T13:57:24Z</vt:lpwstr>
  </property>
  <property fmtid="{D5CDD505-2E9C-101B-9397-08002B2CF9AE}" pid="6" name="MSIP_Label_3551e939-46ca-4a56-a9d5-fb166622f07a_Method">
    <vt:lpwstr>Standard</vt:lpwstr>
  </property>
  <property fmtid="{D5CDD505-2E9C-101B-9397-08002B2CF9AE}" pid="7" name="MSIP_Label_3551e939-46ca-4a56-a9d5-fb166622f07a_Name">
    <vt:lpwstr>3551e939-46ca-4a56-a9d5-fb166622f07a</vt:lpwstr>
  </property>
  <property fmtid="{D5CDD505-2E9C-101B-9397-08002B2CF9AE}" pid="8" name="MSIP_Label_3551e939-46ca-4a56-a9d5-fb166622f07a_SiteId">
    <vt:lpwstr>db76fb59-a377-4120-bc54-59dead7d39c9</vt:lpwstr>
  </property>
  <property fmtid="{D5CDD505-2E9C-101B-9397-08002B2CF9AE}" pid="9" name="MSIP_Label_3551e939-46ca-4a56-a9d5-fb166622f07a_ActionId">
    <vt:lpwstr>8299c8aa-8225-43a0-abb4-3b27067b1143</vt:lpwstr>
  </property>
  <property fmtid="{D5CDD505-2E9C-101B-9397-08002B2CF9AE}" pid="10" name="MSIP_Label_3551e939-46ca-4a56-a9d5-fb166622f07a_ContentBits">
    <vt:lpwstr>1</vt:lpwstr>
  </property>
  <property fmtid="{D5CDD505-2E9C-101B-9397-08002B2CF9AE}" pid="11" name="ClassificationContentMarkingHeaderLocations">
    <vt:lpwstr>Merck:68</vt:lpwstr>
  </property>
  <property fmtid="{D5CDD505-2E9C-101B-9397-08002B2CF9AE}" pid="12" name="ClassificationContentMarkingHeaderText">
    <vt:lpwstr>Classification: INTERNAL</vt:lpwstr>
  </property>
</Properties>
</file>